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19.jpg" ContentType="image/pn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1"/>
  </p:notesMasterIdLst>
  <p:handoutMasterIdLst>
    <p:handoutMasterId r:id="rId32"/>
  </p:handoutMasterIdLst>
  <p:sldIdLst>
    <p:sldId id="263" r:id="rId2"/>
    <p:sldId id="572" r:id="rId3"/>
    <p:sldId id="579" r:id="rId4"/>
    <p:sldId id="602" r:id="rId5"/>
    <p:sldId id="630" r:id="rId6"/>
    <p:sldId id="594" r:id="rId7"/>
    <p:sldId id="567" r:id="rId8"/>
    <p:sldId id="562" r:id="rId9"/>
    <p:sldId id="570" r:id="rId10"/>
    <p:sldId id="606" r:id="rId11"/>
    <p:sldId id="623" r:id="rId12"/>
    <p:sldId id="613" r:id="rId13"/>
    <p:sldId id="620" r:id="rId14"/>
    <p:sldId id="559" r:id="rId15"/>
    <p:sldId id="624" r:id="rId16"/>
    <p:sldId id="625" r:id="rId17"/>
    <p:sldId id="626" r:id="rId18"/>
    <p:sldId id="627" r:id="rId19"/>
    <p:sldId id="628" r:id="rId20"/>
    <p:sldId id="593" r:id="rId21"/>
    <p:sldId id="565" r:id="rId22"/>
    <p:sldId id="616" r:id="rId23"/>
    <p:sldId id="586" r:id="rId24"/>
    <p:sldId id="588" r:id="rId25"/>
    <p:sldId id="589" r:id="rId26"/>
    <p:sldId id="590" r:id="rId27"/>
    <p:sldId id="569" r:id="rId28"/>
    <p:sldId id="591" r:id="rId29"/>
    <p:sldId id="629" r:id="rId30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6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BF4"/>
    <a:srgbClr val="989898"/>
    <a:srgbClr val="A6DACB"/>
    <a:srgbClr val="F3703A"/>
    <a:srgbClr val="39B54A"/>
    <a:srgbClr val="000000"/>
    <a:srgbClr val="E3710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37107" autoAdjust="0"/>
    <p:restoredTop sz="92386" autoAdjust="0"/>
  </p:normalViewPr>
  <p:slideViewPr>
    <p:cSldViewPr>
      <p:cViewPr>
        <p:scale>
          <a:sx n="119" d="100"/>
          <a:sy n="119" d="100"/>
        </p:scale>
        <p:origin x="-552" y="-1064"/>
      </p:cViewPr>
      <p:guideLst>
        <p:guide orient="horz" pos="159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22" d="100"/>
          <a:sy n="122" d="100"/>
        </p:scale>
        <p:origin x="5072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BB55B9-1790-4581-819B-3CE3CF7E3218}" type="doc">
      <dgm:prSet loTypeId="urn:microsoft.com/office/officeart/2005/8/layout/hList7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A85A92A-BDEE-4DC9-BFE2-BE2F6A3C0082}">
      <dgm:prSet phldrT="[Text]" custT="1"/>
      <dgm:spPr/>
      <dgm:t>
        <a:bodyPr/>
        <a:lstStyle/>
        <a:p>
          <a:pPr algn="l"/>
          <a:r>
            <a:rPr lang="en-US" sz="1200" b="1" dirty="0" smtClean="0">
              <a:solidFill>
                <a:srgbClr val="000000"/>
              </a:solidFill>
            </a:rPr>
            <a:t>Agile</a:t>
          </a:r>
          <a:r>
            <a:rPr lang="en-US" sz="1200" b="1" baseline="0" dirty="0" smtClean="0">
              <a:solidFill>
                <a:srgbClr val="000000"/>
              </a:solidFill>
            </a:rPr>
            <a:t> </a:t>
          </a:r>
          <a:r>
            <a:rPr lang="en-US" sz="1200" b="1" dirty="0" smtClean="0">
              <a:solidFill>
                <a:srgbClr val="000000"/>
              </a:solidFill>
            </a:rPr>
            <a:t>Methodology</a:t>
          </a:r>
        </a:p>
      </dgm:t>
    </dgm:pt>
    <dgm:pt modelId="{308C8370-9FE6-4B9A-B253-B2B5E00EB16C}" type="parTrans" cxnId="{C3B54CC0-92CC-4E4C-B776-2D3305395C10}">
      <dgm:prSet/>
      <dgm:spPr/>
      <dgm:t>
        <a:bodyPr/>
        <a:lstStyle/>
        <a:p>
          <a:endParaRPr lang="en-US"/>
        </a:p>
      </dgm:t>
    </dgm:pt>
    <dgm:pt modelId="{7023416F-9BDF-48F7-BD0C-8BBC082BE1D5}" type="sibTrans" cxnId="{C3B54CC0-92CC-4E4C-B776-2D3305395C10}">
      <dgm:prSet/>
      <dgm:spPr/>
      <dgm:t>
        <a:bodyPr/>
        <a:lstStyle/>
        <a:p>
          <a:endParaRPr lang="en-US"/>
        </a:p>
      </dgm:t>
    </dgm:pt>
    <dgm:pt modelId="{98D6FBB7-DE7F-41CD-A08E-3CF074F55EE4}">
      <dgm:prSet phldrT="[Text]" custT="1"/>
      <dgm:spPr/>
      <dgm:t>
        <a:bodyPr/>
        <a:lstStyle/>
        <a:p>
          <a:pPr algn="l"/>
          <a:r>
            <a:rPr lang="en-US" sz="1200" b="1" dirty="0" smtClean="0">
              <a:solidFill>
                <a:srgbClr val="000000"/>
              </a:solidFill>
            </a:rPr>
            <a:t>Collaboration</a:t>
          </a:r>
          <a:endParaRPr lang="en-US" sz="1200" b="1" dirty="0">
            <a:solidFill>
              <a:srgbClr val="000000"/>
            </a:solidFill>
          </a:endParaRPr>
        </a:p>
      </dgm:t>
    </dgm:pt>
    <dgm:pt modelId="{5A21208C-6DB6-4D4E-8402-99E8F010FF4A}" type="parTrans" cxnId="{0A8AC887-CAEE-4FD8-9EB1-31193AE17D7A}">
      <dgm:prSet/>
      <dgm:spPr/>
      <dgm:t>
        <a:bodyPr/>
        <a:lstStyle/>
        <a:p>
          <a:endParaRPr lang="en-US"/>
        </a:p>
      </dgm:t>
    </dgm:pt>
    <dgm:pt modelId="{25C899E8-1DF7-4272-A051-7E4FC0059F90}" type="sibTrans" cxnId="{0A8AC887-CAEE-4FD8-9EB1-31193AE17D7A}">
      <dgm:prSet/>
      <dgm:spPr/>
      <dgm:t>
        <a:bodyPr/>
        <a:lstStyle/>
        <a:p>
          <a:endParaRPr lang="en-US"/>
        </a:p>
      </dgm:t>
    </dgm:pt>
    <dgm:pt modelId="{886AE53A-2FF7-4151-B5F5-6B3A6074D3A1}">
      <dgm:prSet phldrT="[Text]" custT="1"/>
      <dgm:spPr/>
      <dgm:t>
        <a:bodyPr/>
        <a:lstStyle/>
        <a:p>
          <a:pPr algn="l"/>
          <a:r>
            <a:rPr lang="en-US" sz="1200" dirty="0" smtClean="0">
              <a:solidFill>
                <a:srgbClr val="000000"/>
              </a:solidFill>
            </a:rPr>
            <a:t>We design and implement functionality in tight collaboration with our customers and partners.</a:t>
          </a:r>
          <a:endParaRPr lang="en-US" sz="1200" dirty="0">
            <a:solidFill>
              <a:srgbClr val="000000"/>
            </a:solidFill>
          </a:endParaRPr>
        </a:p>
      </dgm:t>
    </dgm:pt>
    <dgm:pt modelId="{5401C079-D294-4576-8004-24B8E6311481}" type="parTrans" cxnId="{A443A315-FE47-4733-85F2-32ACE035391B}">
      <dgm:prSet/>
      <dgm:spPr/>
      <dgm:t>
        <a:bodyPr/>
        <a:lstStyle/>
        <a:p>
          <a:endParaRPr lang="en-US"/>
        </a:p>
      </dgm:t>
    </dgm:pt>
    <dgm:pt modelId="{B91AEB8D-BDF8-413B-8DA7-80AEB5B0BB0C}" type="sibTrans" cxnId="{A443A315-FE47-4733-85F2-32ACE035391B}">
      <dgm:prSet/>
      <dgm:spPr/>
      <dgm:t>
        <a:bodyPr/>
        <a:lstStyle/>
        <a:p>
          <a:endParaRPr lang="en-US"/>
        </a:p>
      </dgm:t>
    </dgm:pt>
    <dgm:pt modelId="{F2C2261A-8197-42AD-98E8-D1A81A988D50}">
      <dgm:prSet phldrT="[Text]" custT="1"/>
      <dgm:spPr/>
      <dgm:t>
        <a:bodyPr/>
        <a:lstStyle/>
        <a:p>
          <a:r>
            <a:rPr lang="en-US" sz="1200" b="1" dirty="0" smtClean="0">
              <a:solidFill>
                <a:srgbClr val="000000"/>
              </a:solidFill>
            </a:rPr>
            <a:t>Deploy &amp; Operate</a:t>
          </a:r>
          <a:endParaRPr lang="en-US" sz="1200" b="1" dirty="0">
            <a:solidFill>
              <a:srgbClr val="000000"/>
            </a:solidFill>
          </a:endParaRPr>
        </a:p>
      </dgm:t>
    </dgm:pt>
    <dgm:pt modelId="{82ED585B-863E-4D0F-90D5-FA9EC937FB8F}" type="parTrans" cxnId="{8DB948BC-4587-4869-AC5F-FE0E5BB1C48C}">
      <dgm:prSet/>
      <dgm:spPr/>
      <dgm:t>
        <a:bodyPr/>
        <a:lstStyle/>
        <a:p>
          <a:endParaRPr lang="en-US"/>
        </a:p>
      </dgm:t>
    </dgm:pt>
    <dgm:pt modelId="{E8B40D13-3018-41AA-9782-CE3013AA1F0F}" type="sibTrans" cxnId="{8DB948BC-4587-4869-AC5F-FE0E5BB1C48C}">
      <dgm:prSet/>
      <dgm:spPr/>
      <dgm:t>
        <a:bodyPr/>
        <a:lstStyle/>
        <a:p>
          <a:endParaRPr lang="en-US"/>
        </a:p>
      </dgm:t>
    </dgm:pt>
    <dgm:pt modelId="{CA58AFC4-CEAF-4D88-BD81-F4E5D2781892}">
      <dgm:prSet phldrT="[Text]" custT="1"/>
      <dgm:spPr/>
      <dgm:t>
        <a:bodyPr/>
        <a:lstStyle/>
        <a:p>
          <a:r>
            <a:rPr lang="en-US" sz="1200" dirty="0" smtClean="0">
              <a:solidFill>
                <a:srgbClr val="000000"/>
              </a:solidFill>
            </a:rPr>
            <a:t>We offer Managed Services </a:t>
          </a:r>
          <a:br>
            <a:rPr lang="en-US" sz="1200" dirty="0" smtClean="0">
              <a:solidFill>
                <a:srgbClr val="000000"/>
              </a:solidFill>
            </a:rPr>
          </a:br>
          <a:r>
            <a:rPr lang="en-US" sz="1200" dirty="0" smtClean="0">
              <a:solidFill>
                <a:srgbClr val="000000"/>
              </a:solidFill>
            </a:rPr>
            <a:t>to operate/maintain the customized solutions and </a:t>
          </a:r>
          <a:br>
            <a:rPr lang="en-US" sz="1200" dirty="0" smtClean="0">
              <a:solidFill>
                <a:srgbClr val="000000"/>
              </a:solidFill>
            </a:rPr>
          </a:br>
          <a:r>
            <a:rPr lang="en-US" sz="1200" dirty="0" smtClean="0">
              <a:solidFill>
                <a:srgbClr val="000000"/>
              </a:solidFill>
            </a:rPr>
            <a:t>the underlying platform of </a:t>
          </a:r>
          <a:br>
            <a:rPr lang="en-US" sz="1200" dirty="0" smtClean="0">
              <a:solidFill>
                <a:srgbClr val="000000"/>
              </a:solidFill>
            </a:rPr>
          </a:br>
          <a:r>
            <a:rPr lang="en-US" sz="1200" dirty="0" smtClean="0">
              <a:solidFill>
                <a:srgbClr val="000000"/>
              </a:solidFill>
            </a:rPr>
            <a:t>our customer.</a:t>
          </a:r>
          <a:endParaRPr lang="en-US" sz="1200" dirty="0">
            <a:solidFill>
              <a:srgbClr val="000000"/>
            </a:solidFill>
          </a:endParaRPr>
        </a:p>
      </dgm:t>
    </dgm:pt>
    <dgm:pt modelId="{CA8F714F-57D5-45C7-99BD-0F2D828CD9A0}" type="parTrans" cxnId="{27608713-C158-40BE-AE26-766AEF3853DE}">
      <dgm:prSet/>
      <dgm:spPr/>
      <dgm:t>
        <a:bodyPr/>
        <a:lstStyle/>
        <a:p>
          <a:endParaRPr lang="en-US"/>
        </a:p>
      </dgm:t>
    </dgm:pt>
    <dgm:pt modelId="{8FEF495E-29DC-4D0D-83BA-626248B5C85D}" type="sibTrans" cxnId="{27608713-C158-40BE-AE26-766AEF3853DE}">
      <dgm:prSet/>
      <dgm:spPr/>
      <dgm:t>
        <a:bodyPr/>
        <a:lstStyle/>
        <a:p>
          <a:endParaRPr lang="en-US"/>
        </a:p>
      </dgm:t>
    </dgm:pt>
    <dgm:pt modelId="{6EDCAD43-400F-4CFD-BA0B-F6995A8EF24D}">
      <dgm:prSet phldrT="[Text]" custT="1"/>
      <dgm:spPr/>
      <dgm:t>
        <a:bodyPr/>
        <a:lstStyle/>
        <a:p>
          <a:pPr algn="l"/>
          <a:r>
            <a:rPr lang="en-US" sz="1200" dirty="0" smtClean="0">
              <a:solidFill>
                <a:srgbClr val="000000"/>
              </a:solidFill>
            </a:rPr>
            <a:t>We use Agile methodologies </a:t>
          </a:r>
          <a:br>
            <a:rPr lang="en-US" sz="1200" dirty="0" smtClean="0">
              <a:solidFill>
                <a:srgbClr val="000000"/>
              </a:solidFill>
            </a:rPr>
          </a:br>
          <a:r>
            <a:rPr lang="en-US" sz="1200" dirty="0" smtClean="0">
              <a:solidFill>
                <a:srgbClr val="000000"/>
              </a:solidFill>
            </a:rPr>
            <a:t>to manage our projects.</a:t>
          </a:r>
          <a:endParaRPr lang="en-US" sz="1200" dirty="0">
            <a:solidFill>
              <a:srgbClr val="000000"/>
            </a:solidFill>
          </a:endParaRPr>
        </a:p>
      </dgm:t>
    </dgm:pt>
    <dgm:pt modelId="{18CD3D20-F8FB-4AA1-9B7E-0CEB6439C5F3}" type="sibTrans" cxnId="{FE63A1BF-6C7A-4268-9A9E-933D657A3267}">
      <dgm:prSet/>
      <dgm:spPr/>
      <dgm:t>
        <a:bodyPr/>
        <a:lstStyle/>
        <a:p>
          <a:endParaRPr lang="en-US"/>
        </a:p>
      </dgm:t>
    </dgm:pt>
    <dgm:pt modelId="{20C93A7A-D06C-4BC8-B5FF-2765569D6B98}" type="parTrans" cxnId="{FE63A1BF-6C7A-4268-9A9E-933D657A3267}">
      <dgm:prSet/>
      <dgm:spPr/>
      <dgm:t>
        <a:bodyPr/>
        <a:lstStyle/>
        <a:p>
          <a:endParaRPr lang="en-US"/>
        </a:p>
      </dgm:t>
    </dgm:pt>
    <dgm:pt modelId="{B3C3CE13-491D-4049-ADFC-5A07AA7E3901}">
      <dgm:prSet phldrT="[Text]" custT="1"/>
      <dgm:spPr/>
      <dgm:t>
        <a:bodyPr/>
        <a:lstStyle/>
        <a:p>
          <a:pPr algn="l"/>
          <a:endParaRPr lang="en-US" sz="1200" dirty="0" smtClean="0">
            <a:solidFill>
              <a:srgbClr val="000000"/>
            </a:solidFill>
          </a:endParaRPr>
        </a:p>
        <a:p>
          <a:pPr algn="l"/>
          <a:r>
            <a:rPr lang="en-US" sz="1200" dirty="0" smtClean="0">
              <a:solidFill>
                <a:srgbClr val="000000"/>
              </a:solidFill>
            </a:rPr>
            <a:t>We use the tools &amp;  methodologies preferred by </a:t>
          </a:r>
          <a:br>
            <a:rPr lang="en-US" sz="1200" dirty="0" smtClean="0">
              <a:solidFill>
                <a:srgbClr val="000000"/>
              </a:solidFill>
            </a:rPr>
          </a:br>
          <a:r>
            <a:rPr lang="en-US" sz="1200" dirty="0" smtClean="0">
              <a:solidFill>
                <a:srgbClr val="000000"/>
              </a:solidFill>
            </a:rPr>
            <a:t>our customers.</a:t>
          </a:r>
          <a:endParaRPr lang="en-US" sz="1200" dirty="0">
            <a:solidFill>
              <a:srgbClr val="000000"/>
            </a:solidFill>
          </a:endParaRPr>
        </a:p>
      </dgm:t>
    </dgm:pt>
    <dgm:pt modelId="{925CA76B-03C1-44CA-AC24-9DD56630A467}" type="parTrans" cxnId="{863A2DA9-6484-4FE4-8DF8-F5B8E2BF302A}">
      <dgm:prSet/>
      <dgm:spPr/>
      <dgm:t>
        <a:bodyPr/>
        <a:lstStyle/>
        <a:p>
          <a:endParaRPr lang="en-US"/>
        </a:p>
      </dgm:t>
    </dgm:pt>
    <dgm:pt modelId="{26B15D0C-A6D2-4F76-8EF2-95A5D937FC21}" type="sibTrans" cxnId="{863A2DA9-6484-4FE4-8DF8-F5B8E2BF302A}">
      <dgm:prSet/>
      <dgm:spPr/>
      <dgm:t>
        <a:bodyPr/>
        <a:lstStyle/>
        <a:p>
          <a:endParaRPr lang="en-US"/>
        </a:p>
      </dgm:t>
    </dgm:pt>
    <dgm:pt modelId="{A9A8B847-F169-4F98-8914-A001BB65079D}">
      <dgm:prSet phldrT="[Text]" custT="1"/>
      <dgm:spPr/>
      <dgm:t>
        <a:bodyPr/>
        <a:lstStyle/>
        <a:p>
          <a:pPr algn="l"/>
          <a:endParaRPr lang="en-US" sz="1200" dirty="0" smtClean="0">
            <a:solidFill>
              <a:srgbClr val="000000"/>
            </a:solidFill>
          </a:endParaRPr>
        </a:p>
        <a:p>
          <a:pPr algn="l"/>
          <a:r>
            <a:rPr lang="en-US" sz="1200" dirty="0" smtClean="0">
              <a:solidFill>
                <a:srgbClr val="000000"/>
              </a:solidFill>
            </a:rPr>
            <a:t>The design of a new feature</a:t>
          </a:r>
          <a:r>
            <a:rPr lang="en-US" sz="1200" baseline="0" dirty="0" smtClean="0">
              <a:solidFill>
                <a:srgbClr val="000000"/>
              </a:solidFill>
            </a:rPr>
            <a:t> and/or </a:t>
          </a:r>
          <a:r>
            <a:rPr lang="en-US" sz="1200" dirty="0" smtClean="0">
              <a:solidFill>
                <a:srgbClr val="000000"/>
              </a:solidFill>
            </a:rPr>
            <a:t>solution often starts through </a:t>
          </a:r>
          <a:r>
            <a:rPr lang="en-US" sz="1200" baseline="0" dirty="0" smtClean="0">
              <a:solidFill>
                <a:srgbClr val="000000"/>
              </a:solidFill>
            </a:rPr>
            <a:t>a set of </a:t>
          </a:r>
          <a:r>
            <a:rPr lang="en-US" sz="1200" dirty="0" smtClean="0">
              <a:solidFill>
                <a:srgbClr val="000000"/>
              </a:solidFill>
            </a:rPr>
            <a:t>workshops.</a:t>
          </a:r>
          <a:endParaRPr lang="en-US" sz="1200" dirty="0">
            <a:solidFill>
              <a:srgbClr val="000000"/>
            </a:solidFill>
          </a:endParaRPr>
        </a:p>
      </dgm:t>
    </dgm:pt>
    <dgm:pt modelId="{27E3CF04-FC77-4A00-A8DB-BECBAC1B8688}" type="parTrans" cxnId="{099EE9E5-F3C0-443F-8FC3-C6C460D6ADC6}">
      <dgm:prSet/>
      <dgm:spPr/>
      <dgm:t>
        <a:bodyPr/>
        <a:lstStyle/>
        <a:p>
          <a:endParaRPr lang="en-US"/>
        </a:p>
      </dgm:t>
    </dgm:pt>
    <dgm:pt modelId="{9A21B438-8C86-4AE9-A7A5-DA9097EFD28A}" type="sibTrans" cxnId="{099EE9E5-F3C0-443F-8FC3-C6C460D6ADC6}">
      <dgm:prSet/>
      <dgm:spPr/>
      <dgm:t>
        <a:bodyPr/>
        <a:lstStyle/>
        <a:p>
          <a:endParaRPr lang="en-US"/>
        </a:p>
      </dgm:t>
    </dgm:pt>
    <dgm:pt modelId="{9C6B0AC9-4CB8-4A68-8B52-B0373A76568F}" type="pres">
      <dgm:prSet presAssocID="{23BB55B9-1790-4581-819B-3CE3CF7E321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F4F31E8-BE12-458A-87AD-F3C71EAFF98B}" type="pres">
      <dgm:prSet presAssocID="{23BB55B9-1790-4581-819B-3CE3CF7E3218}" presName="fgShape" presStyleLbl="fgShp" presStyleIdx="0" presStyleCnt="1" custScaleY="48767" custLinFactY="-245768" custLinFactNeighborX="320" custLinFactNeighborY="-300000"/>
      <dgm:spPr/>
    </dgm:pt>
    <dgm:pt modelId="{78FCDE82-D21A-4E92-B988-6AA8CB1812A2}" type="pres">
      <dgm:prSet presAssocID="{23BB55B9-1790-4581-819B-3CE3CF7E3218}" presName="linComp" presStyleCnt="0"/>
      <dgm:spPr/>
    </dgm:pt>
    <dgm:pt modelId="{BC395520-3DB5-4DF9-B063-364293D01FDA}" type="pres">
      <dgm:prSet presAssocID="{9A85A92A-BDEE-4DC9-BFE2-BE2F6A3C0082}" presName="compNode" presStyleCnt="0"/>
      <dgm:spPr/>
    </dgm:pt>
    <dgm:pt modelId="{FD35CD9A-F065-4BE3-8302-1382D370FC2D}" type="pres">
      <dgm:prSet presAssocID="{9A85A92A-BDEE-4DC9-BFE2-BE2F6A3C0082}" presName="bkgdShape" presStyleLbl="node1" presStyleIdx="0" presStyleCnt="3"/>
      <dgm:spPr/>
      <dgm:t>
        <a:bodyPr/>
        <a:lstStyle/>
        <a:p>
          <a:endParaRPr lang="en-US"/>
        </a:p>
      </dgm:t>
    </dgm:pt>
    <dgm:pt modelId="{12D2AEFA-9EED-42B3-A039-B60D8B7435DA}" type="pres">
      <dgm:prSet presAssocID="{9A85A92A-BDEE-4DC9-BFE2-BE2F6A3C0082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DFDA08-F058-4A71-8CFE-A68145C583DF}" type="pres">
      <dgm:prSet presAssocID="{9A85A92A-BDEE-4DC9-BFE2-BE2F6A3C0082}" presName="invisiNode" presStyleLbl="node1" presStyleIdx="0" presStyleCnt="3"/>
      <dgm:spPr/>
    </dgm:pt>
    <dgm:pt modelId="{AE519F8D-ECB6-42E7-952B-3843A9C3E942}" type="pres">
      <dgm:prSet presAssocID="{9A85A92A-BDEE-4DC9-BFE2-BE2F6A3C0082}" presName="imagNode" presStyleLbl="fgImgPlace1" presStyleIdx="0" presStyleCnt="3" custLinFactNeighborX="-3147" custLinFactNeighborY="9288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8CEC5E43-A03E-4046-8EFC-2368C0EDB61D}" type="pres">
      <dgm:prSet presAssocID="{7023416F-9BDF-48F7-BD0C-8BBC082BE1D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75F771F-9879-42AE-8DA7-FBF66B9540B2}" type="pres">
      <dgm:prSet presAssocID="{98D6FBB7-DE7F-41CD-A08E-3CF074F55EE4}" presName="compNode" presStyleCnt="0"/>
      <dgm:spPr/>
    </dgm:pt>
    <dgm:pt modelId="{5925ED8A-B4B4-42D7-83FB-E2170A1ECD8D}" type="pres">
      <dgm:prSet presAssocID="{98D6FBB7-DE7F-41CD-A08E-3CF074F55EE4}" presName="bkgdShape" presStyleLbl="node1" presStyleIdx="1" presStyleCnt="3"/>
      <dgm:spPr/>
      <dgm:t>
        <a:bodyPr/>
        <a:lstStyle/>
        <a:p>
          <a:endParaRPr lang="en-US"/>
        </a:p>
      </dgm:t>
    </dgm:pt>
    <dgm:pt modelId="{3208BFFE-4641-4AB0-96C7-F9D90EEB6D57}" type="pres">
      <dgm:prSet presAssocID="{98D6FBB7-DE7F-41CD-A08E-3CF074F55EE4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0DA889-A202-42BA-869E-AF5CC8D59129}" type="pres">
      <dgm:prSet presAssocID="{98D6FBB7-DE7F-41CD-A08E-3CF074F55EE4}" presName="invisiNode" presStyleLbl="node1" presStyleIdx="1" presStyleCnt="3"/>
      <dgm:spPr/>
    </dgm:pt>
    <dgm:pt modelId="{FC82E46D-73E1-4D7D-A4CF-863302760A7F}" type="pres">
      <dgm:prSet presAssocID="{98D6FBB7-DE7F-41CD-A08E-3CF074F55EE4}" presName="imagNode" presStyleLbl="fgImgPlace1" presStyleIdx="1" presStyleCnt="3" custLinFactNeighborX="-4675" custLinFactNeighborY="928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125E267-FF5F-4BE7-B58D-FE0647B7E36E}" type="pres">
      <dgm:prSet presAssocID="{25C899E8-1DF7-4272-A051-7E4FC0059F90}" presName="sibTrans" presStyleLbl="sibTrans2D1" presStyleIdx="0" presStyleCnt="0"/>
      <dgm:spPr/>
      <dgm:t>
        <a:bodyPr/>
        <a:lstStyle/>
        <a:p>
          <a:endParaRPr lang="en-US"/>
        </a:p>
      </dgm:t>
    </dgm:pt>
    <dgm:pt modelId="{590CB5EC-B4EE-4A31-9C21-D8BC8E200573}" type="pres">
      <dgm:prSet presAssocID="{F2C2261A-8197-42AD-98E8-D1A81A988D50}" presName="compNode" presStyleCnt="0"/>
      <dgm:spPr/>
    </dgm:pt>
    <dgm:pt modelId="{4A112E27-CF3F-4BA1-86B7-1F50CF93FF7B}" type="pres">
      <dgm:prSet presAssocID="{F2C2261A-8197-42AD-98E8-D1A81A988D50}" presName="bkgdShape" presStyleLbl="node1" presStyleIdx="2" presStyleCnt="3" custLinFactNeighborX="64" custLinFactNeighborY="411"/>
      <dgm:spPr/>
      <dgm:t>
        <a:bodyPr/>
        <a:lstStyle/>
        <a:p>
          <a:endParaRPr lang="en-US"/>
        </a:p>
      </dgm:t>
    </dgm:pt>
    <dgm:pt modelId="{34C24867-1DC7-47F8-A8AC-958DFFF81F8F}" type="pres">
      <dgm:prSet presAssocID="{F2C2261A-8197-42AD-98E8-D1A81A988D50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D40D45-B1C6-4737-933A-E912412DEBD7}" type="pres">
      <dgm:prSet presAssocID="{F2C2261A-8197-42AD-98E8-D1A81A988D50}" presName="invisiNode" presStyleLbl="node1" presStyleIdx="2" presStyleCnt="3"/>
      <dgm:spPr/>
    </dgm:pt>
    <dgm:pt modelId="{84164581-A878-44AE-BBC2-B6E4810707D9}" type="pres">
      <dgm:prSet presAssocID="{F2C2261A-8197-42AD-98E8-D1A81A988D50}" presName="imagNode" presStyleLbl="fgImgPlace1" presStyleIdx="2" presStyleCnt="3" custLinFactNeighborX="-6203" custLinFactNeighborY="928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</dgm:ptLst>
  <dgm:cxnLst>
    <dgm:cxn modelId="{E555E3CD-42D1-FD41-ABA5-09D69B562A55}" type="presOf" srcId="{25C899E8-1DF7-4272-A051-7E4FC0059F90}" destId="{5125E267-FF5F-4BE7-B58D-FE0647B7E36E}" srcOrd="0" destOrd="0" presId="urn:microsoft.com/office/officeart/2005/8/layout/hList7"/>
    <dgm:cxn modelId="{0A8AC887-CAEE-4FD8-9EB1-31193AE17D7A}" srcId="{23BB55B9-1790-4581-819B-3CE3CF7E3218}" destId="{98D6FBB7-DE7F-41CD-A08E-3CF074F55EE4}" srcOrd="1" destOrd="0" parTransId="{5A21208C-6DB6-4D4E-8402-99E8F010FF4A}" sibTransId="{25C899E8-1DF7-4272-A051-7E4FC0059F90}"/>
    <dgm:cxn modelId="{52978A0D-EC17-1E4F-82FA-01ACDEA2089D}" type="presOf" srcId="{6EDCAD43-400F-4CFD-BA0B-F6995A8EF24D}" destId="{FD35CD9A-F065-4BE3-8302-1382D370FC2D}" srcOrd="0" destOrd="1" presId="urn:microsoft.com/office/officeart/2005/8/layout/hList7"/>
    <dgm:cxn modelId="{7C7F768F-7215-9746-84D7-58C8D5CD0734}" type="presOf" srcId="{A9A8B847-F169-4F98-8914-A001BB65079D}" destId="{3208BFFE-4641-4AB0-96C7-F9D90EEB6D57}" srcOrd="1" destOrd="2" presId="urn:microsoft.com/office/officeart/2005/8/layout/hList7"/>
    <dgm:cxn modelId="{9A1367E1-1E7A-ED4E-AA56-33D527BEED5E}" type="presOf" srcId="{98D6FBB7-DE7F-41CD-A08E-3CF074F55EE4}" destId="{5925ED8A-B4B4-42D7-83FB-E2170A1ECD8D}" srcOrd="0" destOrd="0" presId="urn:microsoft.com/office/officeart/2005/8/layout/hList7"/>
    <dgm:cxn modelId="{A77D9678-9124-0C46-A56D-EFE5B2599671}" type="presOf" srcId="{9A85A92A-BDEE-4DC9-BFE2-BE2F6A3C0082}" destId="{FD35CD9A-F065-4BE3-8302-1382D370FC2D}" srcOrd="0" destOrd="0" presId="urn:microsoft.com/office/officeart/2005/8/layout/hList7"/>
    <dgm:cxn modelId="{8DB948BC-4587-4869-AC5F-FE0E5BB1C48C}" srcId="{23BB55B9-1790-4581-819B-3CE3CF7E3218}" destId="{F2C2261A-8197-42AD-98E8-D1A81A988D50}" srcOrd="2" destOrd="0" parTransId="{82ED585B-863E-4D0F-90D5-FA9EC937FB8F}" sibTransId="{E8B40D13-3018-41AA-9782-CE3013AA1F0F}"/>
    <dgm:cxn modelId="{8CEC67FD-A8FF-7E4C-B0B1-D0F99541F3B8}" type="presOf" srcId="{B3C3CE13-491D-4049-ADFC-5A07AA7E3901}" destId="{12D2AEFA-9EED-42B3-A039-B60D8B7435DA}" srcOrd="1" destOrd="2" presId="urn:microsoft.com/office/officeart/2005/8/layout/hList7"/>
    <dgm:cxn modelId="{F168F5BB-4D74-0640-A7F9-EB90F9A1C860}" type="presOf" srcId="{9A85A92A-BDEE-4DC9-BFE2-BE2F6A3C0082}" destId="{12D2AEFA-9EED-42B3-A039-B60D8B7435DA}" srcOrd="1" destOrd="0" presId="urn:microsoft.com/office/officeart/2005/8/layout/hList7"/>
    <dgm:cxn modelId="{8CD471FC-1FFE-6A42-89A1-523D67CA6CEA}" type="presOf" srcId="{23BB55B9-1790-4581-819B-3CE3CF7E3218}" destId="{9C6B0AC9-4CB8-4A68-8B52-B0373A76568F}" srcOrd="0" destOrd="0" presId="urn:microsoft.com/office/officeart/2005/8/layout/hList7"/>
    <dgm:cxn modelId="{DB1A77E6-2957-E44D-B6D1-6D38676AFD09}" type="presOf" srcId="{7023416F-9BDF-48F7-BD0C-8BBC082BE1D5}" destId="{8CEC5E43-A03E-4046-8EFC-2368C0EDB61D}" srcOrd="0" destOrd="0" presId="urn:microsoft.com/office/officeart/2005/8/layout/hList7"/>
    <dgm:cxn modelId="{43A1633B-47D0-6C43-8D2A-738481AB30E1}" type="presOf" srcId="{6EDCAD43-400F-4CFD-BA0B-F6995A8EF24D}" destId="{12D2AEFA-9EED-42B3-A039-B60D8B7435DA}" srcOrd="1" destOrd="1" presId="urn:microsoft.com/office/officeart/2005/8/layout/hList7"/>
    <dgm:cxn modelId="{099EE9E5-F3C0-443F-8FC3-C6C460D6ADC6}" srcId="{98D6FBB7-DE7F-41CD-A08E-3CF074F55EE4}" destId="{A9A8B847-F169-4F98-8914-A001BB65079D}" srcOrd="1" destOrd="0" parTransId="{27E3CF04-FC77-4A00-A8DB-BECBAC1B8688}" sibTransId="{9A21B438-8C86-4AE9-A7A5-DA9097EFD28A}"/>
    <dgm:cxn modelId="{DD9333C3-329D-2B49-838F-CE7F5570D891}" type="presOf" srcId="{886AE53A-2FF7-4151-B5F5-6B3A6074D3A1}" destId="{5925ED8A-B4B4-42D7-83FB-E2170A1ECD8D}" srcOrd="0" destOrd="1" presId="urn:microsoft.com/office/officeart/2005/8/layout/hList7"/>
    <dgm:cxn modelId="{DF18AF12-D8BF-7947-AD6B-E9FD6CFE0038}" type="presOf" srcId="{F2C2261A-8197-42AD-98E8-D1A81A988D50}" destId="{34C24867-1DC7-47F8-A8AC-958DFFF81F8F}" srcOrd="1" destOrd="0" presId="urn:microsoft.com/office/officeart/2005/8/layout/hList7"/>
    <dgm:cxn modelId="{A62098F5-724F-BF45-B734-54A9B0CA6D54}" type="presOf" srcId="{F2C2261A-8197-42AD-98E8-D1A81A988D50}" destId="{4A112E27-CF3F-4BA1-86B7-1F50CF93FF7B}" srcOrd="0" destOrd="0" presId="urn:microsoft.com/office/officeart/2005/8/layout/hList7"/>
    <dgm:cxn modelId="{74FB269A-5D0B-954D-9596-9340E21E4AA5}" type="presOf" srcId="{A9A8B847-F169-4F98-8914-A001BB65079D}" destId="{5925ED8A-B4B4-42D7-83FB-E2170A1ECD8D}" srcOrd="0" destOrd="2" presId="urn:microsoft.com/office/officeart/2005/8/layout/hList7"/>
    <dgm:cxn modelId="{863A2DA9-6484-4FE4-8DF8-F5B8E2BF302A}" srcId="{9A85A92A-BDEE-4DC9-BFE2-BE2F6A3C0082}" destId="{B3C3CE13-491D-4049-ADFC-5A07AA7E3901}" srcOrd="1" destOrd="0" parTransId="{925CA76B-03C1-44CA-AC24-9DD56630A467}" sibTransId="{26B15D0C-A6D2-4F76-8EF2-95A5D937FC21}"/>
    <dgm:cxn modelId="{0387EA32-6436-F344-BAC9-44F595E41E9C}" type="presOf" srcId="{98D6FBB7-DE7F-41CD-A08E-3CF074F55EE4}" destId="{3208BFFE-4641-4AB0-96C7-F9D90EEB6D57}" srcOrd="1" destOrd="0" presId="urn:microsoft.com/office/officeart/2005/8/layout/hList7"/>
    <dgm:cxn modelId="{778FAC9A-A3C3-DA4B-9EE1-EDD96465E2C7}" type="presOf" srcId="{B3C3CE13-491D-4049-ADFC-5A07AA7E3901}" destId="{FD35CD9A-F065-4BE3-8302-1382D370FC2D}" srcOrd="0" destOrd="2" presId="urn:microsoft.com/office/officeart/2005/8/layout/hList7"/>
    <dgm:cxn modelId="{261CEA33-BAC8-C44B-9C59-7F7DED45E1C9}" type="presOf" srcId="{886AE53A-2FF7-4151-B5F5-6B3A6074D3A1}" destId="{3208BFFE-4641-4AB0-96C7-F9D90EEB6D57}" srcOrd="1" destOrd="1" presId="urn:microsoft.com/office/officeart/2005/8/layout/hList7"/>
    <dgm:cxn modelId="{C3B54CC0-92CC-4E4C-B776-2D3305395C10}" srcId="{23BB55B9-1790-4581-819B-3CE3CF7E3218}" destId="{9A85A92A-BDEE-4DC9-BFE2-BE2F6A3C0082}" srcOrd="0" destOrd="0" parTransId="{308C8370-9FE6-4B9A-B253-B2B5E00EB16C}" sibTransId="{7023416F-9BDF-48F7-BD0C-8BBC082BE1D5}"/>
    <dgm:cxn modelId="{9AA9B746-C73C-8A40-BFCF-FE1EC1B8375B}" type="presOf" srcId="{CA58AFC4-CEAF-4D88-BD81-F4E5D2781892}" destId="{34C24867-1DC7-47F8-A8AC-958DFFF81F8F}" srcOrd="1" destOrd="1" presId="urn:microsoft.com/office/officeart/2005/8/layout/hList7"/>
    <dgm:cxn modelId="{A443A315-FE47-4733-85F2-32ACE035391B}" srcId="{98D6FBB7-DE7F-41CD-A08E-3CF074F55EE4}" destId="{886AE53A-2FF7-4151-B5F5-6B3A6074D3A1}" srcOrd="0" destOrd="0" parTransId="{5401C079-D294-4576-8004-24B8E6311481}" sibTransId="{B91AEB8D-BDF8-413B-8DA7-80AEB5B0BB0C}"/>
    <dgm:cxn modelId="{1DBE642A-71F3-D24E-A610-EDF3A477C012}" type="presOf" srcId="{CA58AFC4-CEAF-4D88-BD81-F4E5D2781892}" destId="{4A112E27-CF3F-4BA1-86B7-1F50CF93FF7B}" srcOrd="0" destOrd="1" presId="urn:microsoft.com/office/officeart/2005/8/layout/hList7"/>
    <dgm:cxn modelId="{FE63A1BF-6C7A-4268-9A9E-933D657A3267}" srcId="{9A85A92A-BDEE-4DC9-BFE2-BE2F6A3C0082}" destId="{6EDCAD43-400F-4CFD-BA0B-F6995A8EF24D}" srcOrd="0" destOrd="0" parTransId="{20C93A7A-D06C-4BC8-B5FF-2765569D6B98}" sibTransId="{18CD3D20-F8FB-4AA1-9B7E-0CEB6439C5F3}"/>
    <dgm:cxn modelId="{27608713-C158-40BE-AE26-766AEF3853DE}" srcId="{F2C2261A-8197-42AD-98E8-D1A81A988D50}" destId="{CA58AFC4-CEAF-4D88-BD81-F4E5D2781892}" srcOrd="0" destOrd="0" parTransId="{CA8F714F-57D5-45C7-99BD-0F2D828CD9A0}" sibTransId="{8FEF495E-29DC-4D0D-83BA-626248B5C85D}"/>
    <dgm:cxn modelId="{7422862C-4A4D-8E48-A77B-C3618B398009}" type="presParOf" srcId="{9C6B0AC9-4CB8-4A68-8B52-B0373A76568F}" destId="{0F4F31E8-BE12-458A-87AD-F3C71EAFF98B}" srcOrd="0" destOrd="0" presId="urn:microsoft.com/office/officeart/2005/8/layout/hList7"/>
    <dgm:cxn modelId="{A86728D6-689A-E848-A82D-A865CB10469A}" type="presParOf" srcId="{9C6B0AC9-4CB8-4A68-8B52-B0373A76568F}" destId="{78FCDE82-D21A-4E92-B988-6AA8CB1812A2}" srcOrd="1" destOrd="0" presId="urn:microsoft.com/office/officeart/2005/8/layout/hList7"/>
    <dgm:cxn modelId="{FC04BB13-5471-2C42-9029-2107391B73F3}" type="presParOf" srcId="{78FCDE82-D21A-4E92-B988-6AA8CB1812A2}" destId="{BC395520-3DB5-4DF9-B063-364293D01FDA}" srcOrd="0" destOrd="0" presId="urn:microsoft.com/office/officeart/2005/8/layout/hList7"/>
    <dgm:cxn modelId="{BBBCEF54-2ECA-844B-98C8-47A26B913C34}" type="presParOf" srcId="{BC395520-3DB5-4DF9-B063-364293D01FDA}" destId="{FD35CD9A-F065-4BE3-8302-1382D370FC2D}" srcOrd="0" destOrd="0" presId="urn:microsoft.com/office/officeart/2005/8/layout/hList7"/>
    <dgm:cxn modelId="{7BE2F9D5-803C-B14F-905B-A2B060F1A83A}" type="presParOf" srcId="{BC395520-3DB5-4DF9-B063-364293D01FDA}" destId="{12D2AEFA-9EED-42B3-A039-B60D8B7435DA}" srcOrd="1" destOrd="0" presId="urn:microsoft.com/office/officeart/2005/8/layout/hList7"/>
    <dgm:cxn modelId="{DC47C079-6DEE-214D-A4CE-FA601A4EA95A}" type="presParOf" srcId="{BC395520-3DB5-4DF9-B063-364293D01FDA}" destId="{58DFDA08-F058-4A71-8CFE-A68145C583DF}" srcOrd="2" destOrd="0" presId="urn:microsoft.com/office/officeart/2005/8/layout/hList7"/>
    <dgm:cxn modelId="{035F9657-4170-5D42-BB96-5C6781ACBE8B}" type="presParOf" srcId="{BC395520-3DB5-4DF9-B063-364293D01FDA}" destId="{AE519F8D-ECB6-42E7-952B-3843A9C3E942}" srcOrd="3" destOrd="0" presId="urn:microsoft.com/office/officeart/2005/8/layout/hList7"/>
    <dgm:cxn modelId="{4A598D7D-6891-B84B-9482-E6A06FF2934B}" type="presParOf" srcId="{78FCDE82-D21A-4E92-B988-6AA8CB1812A2}" destId="{8CEC5E43-A03E-4046-8EFC-2368C0EDB61D}" srcOrd="1" destOrd="0" presId="urn:microsoft.com/office/officeart/2005/8/layout/hList7"/>
    <dgm:cxn modelId="{01AB3385-D1AF-C942-92ED-9D8D53BF0330}" type="presParOf" srcId="{78FCDE82-D21A-4E92-B988-6AA8CB1812A2}" destId="{D75F771F-9879-42AE-8DA7-FBF66B9540B2}" srcOrd="2" destOrd="0" presId="urn:microsoft.com/office/officeart/2005/8/layout/hList7"/>
    <dgm:cxn modelId="{A63883FC-1C39-1045-B184-13F469442293}" type="presParOf" srcId="{D75F771F-9879-42AE-8DA7-FBF66B9540B2}" destId="{5925ED8A-B4B4-42D7-83FB-E2170A1ECD8D}" srcOrd="0" destOrd="0" presId="urn:microsoft.com/office/officeart/2005/8/layout/hList7"/>
    <dgm:cxn modelId="{18AA76D6-9527-6B47-B90C-AF0DF671EE8E}" type="presParOf" srcId="{D75F771F-9879-42AE-8DA7-FBF66B9540B2}" destId="{3208BFFE-4641-4AB0-96C7-F9D90EEB6D57}" srcOrd="1" destOrd="0" presId="urn:microsoft.com/office/officeart/2005/8/layout/hList7"/>
    <dgm:cxn modelId="{064F17DB-5758-1641-9C51-570D743AA37E}" type="presParOf" srcId="{D75F771F-9879-42AE-8DA7-FBF66B9540B2}" destId="{160DA889-A202-42BA-869E-AF5CC8D59129}" srcOrd="2" destOrd="0" presId="urn:microsoft.com/office/officeart/2005/8/layout/hList7"/>
    <dgm:cxn modelId="{56DE5389-905D-A349-B9E4-5111C00FC516}" type="presParOf" srcId="{D75F771F-9879-42AE-8DA7-FBF66B9540B2}" destId="{FC82E46D-73E1-4D7D-A4CF-863302760A7F}" srcOrd="3" destOrd="0" presId="urn:microsoft.com/office/officeart/2005/8/layout/hList7"/>
    <dgm:cxn modelId="{2AD3B471-6726-6F41-9C09-250CF4426E75}" type="presParOf" srcId="{78FCDE82-D21A-4E92-B988-6AA8CB1812A2}" destId="{5125E267-FF5F-4BE7-B58D-FE0647B7E36E}" srcOrd="3" destOrd="0" presId="urn:microsoft.com/office/officeart/2005/8/layout/hList7"/>
    <dgm:cxn modelId="{B22E69C1-41A1-5743-AB1B-06E959C9FBAF}" type="presParOf" srcId="{78FCDE82-D21A-4E92-B988-6AA8CB1812A2}" destId="{590CB5EC-B4EE-4A31-9C21-D8BC8E200573}" srcOrd="4" destOrd="0" presId="urn:microsoft.com/office/officeart/2005/8/layout/hList7"/>
    <dgm:cxn modelId="{93639A17-8024-0142-8023-80A18A78C252}" type="presParOf" srcId="{590CB5EC-B4EE-4A31-9C21-D8BC8E200573}" destId="{4A112E27-CF3F-4BA1-86B7-1F50CF93FF7B}" srcOrd="0" destOrd="0" presId="urn:microsoft.com/office/officeart/2005/8/layout/hList7"/>
    <dgm:cxn modelId="{A4B88B1F-20A6-394D-9496-1A74FB73BAB9}" type="presParOf" srcId="{590CB5EC-B4EE-4A31-9C21-D8BC8E200573}" destId="{34C24867-1DC7-47F8-A8AC-958DFFF81F8F}" srcOrd="1" destOrd="0" presId="urn:microsoft.com/office/officeart/2005/8/layout/hList7"/>
    <dgm:cxn modelId="{A5847893-E64C-1149-A89C-0D656AE3206E}" type="presParOf" srcId="{590CB5EC-B4EE-4A31-9C21-D8BC8E200573}" destId="{97D40D45-B1C6-4737-933A-E912412DEBD7}" srcOrd="2" destOrd="0" presId="urn:microsoft.com/office/officeart/2005/8/layout/hList7"/>
    <dgm:cxn modelId="{B4EC0BE9-4DB1-CF40-A83C-A99C21CB6792}" type="presParOf" srcId="{590CB5EC-B4EE-4A31-9C21-D8BC8E200573}" destId="{84164581-A878-44AE-BBC2-B6E4810707D9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2F2844-9EB4-5645-BC0F-B12D4E1B2A7A}" type="doc">
      <dgm:prSet loTypeId="urn:microsoft.com/office/officeart/2005/8/layout/chevron2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194B3D8D-BDF8-3547-8007-F9379E7148AF}">
      <dgm:prSet phldrT="[Text]" custT="1"/>
      <dgm:spPr/>
      <dgm:t>
        <a:bodyPr/>
        <a:lstStyle/>
        <a:p>
          <a:endParaRPr lang="en-US" sz="1000" dirty="0" smtClean="0"/>
        </a:p>
        <a:p>
          <a:r>
            <a:rPr lang="en-US" sz="900" dirty="0" smtClean="0"/>
            <a:t>Apica</a:t>
          </a:r>
        </a:p>
        <a:p>
          <a:r>
            <a:rPr lang="en-US" sz="900" dirty="0" smtClean="0"/>
            <a:t>Web Performance</a:t>
          </a:r>
        </a:p>
        <a:p>
          <a:r>
            <a:rPr lang="en-US" sz="900" dirty="0" smtClean="0"/>
            <a:t>Experts</a:t>
          </a:r>
          <a:endParaRPr lang="en-US" sz="900" dirty="0"/>
        </a:p>
      </dgm:t>
    </dgm:pt>
    <dgm:pt modelId="{33A538F3-7C2A-714E-A18A-22EF02857F39}" type="parTrans" cxnId="{9EF3BD04-61D0-FB40-8BFE-BFDDF25F0495}">
      <dgm:prSet/>
      <dgm:spPr/>
      <dgm:t>
        <a:bodyPr/>
        <a:lstStyle/>
        <a:p>
          <a:endParaRPr lang="en-US"/>
        </a:p>
      </dgm:t>
    </dgm:pt>
    <dgm:pt modelId="{13014426-F8B4-9045-9BED-098B9EE27550}" type="sibTrans" cxnId="{9EF3BD04-61D0-FB40-8BFE-BFDDF25F0495}">
      <dgm:prSet/>
      <dgm:spPr/>
      <dgm:t>
        <a:bodyPr/>
        <a:lstStyle/>
        <a:p>
          <a:endParaRPr lang="en-US"/>
        </a:p>
      </dgm:t>
    </dgm:pt>
    <dgm:pt modelId="{26FE91E3-0313-1547-AE9F-777AAC407B77}">
      <dgm:prSet phldrT="[Text]"/>
      <dgm:spPr/>
      <dgm:t>
        <a:bodyPr/>
        <a:lstStyle/>
        <a:p>
          <a:r>
            <a:rPr lang="en-US" b="1" dirty="0" smtClean="0"/>
            <a:t>Apica is a true specialist within Web Performance. </a:t>
          </a:r>
        </a:p>
        <a:p>
          <a:endParaRPr lang="en-US" b="1" dirty="0"/>
        </a:p>
      </dgm:t>
    </dgm:pt>
    <dgm:pt modelId="{95C0C29B-C618-C648-9732-850D712B6EE3}" type="parTrans" cxnId="{7F736D49-631B-BB44-8694-4073B602DD7E}">
      <dgm:prSet/>
      <dgm:spPr/>
      <dgm:t>
        <a:bodyPr/>
        <a:lstStyle/>
        <a:p>
          <a:endParaRPr lang="en-US"/>
        </a:p>
      </dgm:t>
    </dgm:pt>
    <dgm:pt modelId="{C83D238E-2F5C-0142-BE52-4DC62AA7E9A0}" type="sibTrans" cxnId="{7F736D49-631B-BB44-8694-4073B602DD7E}">
      <dgm:prSet/>
      <dgm:spPr/>
      <dgm:t>
        <a:bodyPr/>
        <a:lstStyle/>
        <a:p>
          <a:endParaRPr lang="en-US"/>
        </a:p>
      </dgm:t>
    </dgm:pt>
    <dgm:pt modelId="{489783DD-613F-8E4A-8DAD-1A5D37BCE43E}">
      <dgm:prSet phldrT="[Text]"/>
      <dgm:spPr/>
      <dgm:t>
        <a:bodyPr/>
        <a:lstStyle/>
        <a:p>
          <a:r>
            <a:rPr lang="en-US" b="1" dirty="0" smtClean="0"/>
            <a:t>We</a:t>
          </a:r>
          <a:r>
            <a:rPr lang="en-US" b="1" baseline="0" dirty="0" smtClean="0"/>
            <a:t> have developed a word class platform for Load Testing (ALT) and Synthetic Monitoring (ASM) which is successfully used by a large number of customers.</a:t>
          </a:r>
          <a:endParaRPr lang="en-US" b="1" dirty="0"/>
        </a:p>
      </dgm:t>
    </dgm:pt>
    <dgm:pt modelId="{ECCA7639-668C-FB4B-813D-C60F625BBB8F}" type="parTrans" cxnId="{63D39A90-5546-FD4E-8B5B-28305DEB9866}">
      <dgm:prSet/>
      <dgm:spPr/>
      <dgm:t>
        <a:bodyPr/>
        <a:lstStyle/>
        <a:p>
          <a:endParaRPr lang="en-US"/>
        </a:p>
      </dgm:t>
    </dgm:pt>
    <dgm:pt modelId="{DEBB2B88-FC61-F745-97FD-CCCA605288AB}" type="sibTrans" cxnId="{63D39A90-5546-FD4E-8B5B-28305DEB9866}">
      <dgm:prSet/>
      <dgm:spPr/>
      <dgm:t>
        <a:bodyPr/>
        <a:lstStyle/>
        <a:p>
          <a:endParaRPr lang="en-US"/>
        </a:p>
      </dgm:t>
    </dgm:pt>
    <dgm:pt modelId="{716AD652-089D-194D-8D69-93AF0EBAC840}">
      <dgm:prSet phldrT="[Text]" custT="1"/>
      <dgm:spPr/>
      <dgm:t>
        <a:bodyPr/>
        <a:lstStyle/>
        <a:p>
          <a:endParaRPr lang="en-US" sz="1000" dirty="0" smtClean="0"/>
        </a:p>
        <a:p>
          <a:r>
            <a:rPr lang="en-US" sz="900" dirty="0" smtClean="0"/>
            <a:t>Current  </a:t>
          </a:r>
        </a:p>
        <a:p>
          <a:r>
            <a:rPr lang="en-US" sz="900" dirty="0" smtClean="0"/>
            <a:t>Service</a:t>
          </a:r>
        </a:p>
        <a:p>
          <a:r>
            <a:rPr lang="en-US" sz="900" dirty="0" smtClean="0"/>
            <a:t> Offerings</a:t>
          </a:r>
          <a:endParaRPr lang="en-US" sz="900" dirty="0"/>
        </a:p>
      </dgm:t>
    </dgm:pt>
    <dgm:pt modelId="{B11B4C5E-E86B-744C-A7E8-F9EE0032EFBC}" type="parTrans" cxnId="{7BE6D25D-1D16-B240-AB34-1BF5FA0BED67}">
      <dgm:prSet/>
      <dgm:spPr/>
      <dgm:t>
        <a:bodyPr/>
        <a:lstStyle/>
        <a:p>
          <a:endParaRPr lang="en-US"/>
        </a:p>
      </dgm:t>
    </dgm:pt>
    <dgm:pt modelId="{B62E40E3-762F-C642-AEFD-A405496731FD}" type="sibTrans" cxnId="{7BE6D25D-1D16-B240-AB34-1BF5FA0BED67}">
      <dgm:prSet/>
      <dgm:spPr/>
      <dgm:t>
        <a:bodyPr/>
        <a:lstStyle/>
        <a:p>
          <a:endParaRPr lang="en-US"/>
        </a:p>
      </dgm:t>
    </dgm:pt>
    <dgm:pt modelId="{803DC9F0-EA9E-ED44-A7D7-E0366BF3992B}">
      <dgm:prSet phldrT="[Text]"/>
      <dgm:spPr/>
      <dgm:t>
        <a:bodyPr/>
        <a:lstStyle/>
        <a:p>
          <a:r>
            <a:rPr lang="en-US" b="1" dirty="0" smtClean="0"/>
            <a:t>We deliver</a:t>
          </a:r>
          <a:r>
            <a:rPr lang="en-US" b="1" baseline="0" dirty="0" smtClean="0"/>
            <a:t> load test engagements and synthetic monitoring scripting support to our customers. </a:t>
          </a:r>
        </a:p>
        <a:p>
          <a:endParaRPr lang="en-US" b="1" dirty="0"/>
        </a:p>
      </dgm:t>
    </dgm:pt>
    <dgm:pt modelId="{6FF7E547-A555-4142-A740-68E46669B46B}" type="parTrans" cxnId="{91795223-8134-F049-995E-C2F511E9F12D}">
      <dgm:prSet/>
      <dgm:spPr/>
      <dgm:t>
        <a:bodyPr/>
        <a:lstStyle/>
        <a:p>
          <a:endParaRPr lang="en-US"/>
        </a:p>
      </dgm:t>
    </dgm:pt>
    <dgm:pt modelId="{95F5E584-03A4-4D44-A6D4-E45F8A397E86}" type="sibTrans" cxnId="{91795223-8134-F049-995E-C2F511E9F12D}">
      <dgm:prSet/>
      <dgm:spPr/>
      <dgm:t>
        <a:bodyPr/>
        <a:lstStyle/>
        <a:p>
          <a:endParaRPr lang="en-US"/>
        </a:p>
      </dgm:t>
    </dgm:pt>
    <dgm:pt modelId="{5C0A238B-4B62-124A-AA53-669F35F04184}">
      <dgm:prSet phldrT="[Text]"/>
      <dgm:spPr/>
      <dgm:t>
        <a:bodyPr/>
        <a:lstStyle/>
        <a:p>
          <a:r>
            <a:rPr lang="en-US" b="1" dirty="0" smtClean="0"/>
            <a:t>The services are often tightly</a:t>
          </a:r>
          <a:r>
            <a:rPr lang="en-US" b="1" baseline="0" dirty="0" smtClean="0"/>
            <a:t> coupled to our products and are relatively short in duration.</a:t>
          </a:r>
          <a:endParaRPr lang="en-US" b="1" dirty="0"/>
        </a:p>
      </dgm:t>
    </dgm:pt>
    <dgm:pt modelId="{7997166B-6C52-F945-BFD9-07DE220B3490}" type="parTrans" cxnId="{F60C0A1C-72E5-4646-B766-7D8726FDCAAD}">
      <dgm:prSet/>
      <dgm:spPr/>
      <dgm:t>
        <a:bodyPr/>
        <a:lstStyle/>
        <a:p>
          <a:endParaRPr lang="en-US"/>
        </a:p>
      </dgm:t>
    </dgm:pt>
    <dgm:pt modelId="{665FF85B-FB05-3C4B-8BD2-6F83A54F609A}" type="sibTrans" cxnId="{F60C0A1C-72E5-4646-B766-7D8726FDCAAD}">
      <dgm:prSet/>
      <dgm:spPr/>
      <dgm:t>
        <a:bodyPr/>
        <a:lstStyle/>
        <a:p>
          <a:endParaRPr lang="en-US"/>
        </a:p>
      </dgm:t>
    </dgm:pt>
    <dgm:pt modelId="{5AF3D49D-8F0A-B545-ACB7-675542BE8F00}">
      <dgm:prSet phldrT="[Text]" custT="1"/>
      <dgm:spPr/>
      <dgm:t>
        <a:bodyPr/>
        <a:lstStyle/>
        <a:p>
          <a:endParaRPr lang="en-US" sz="1000" dirty="0" smtClean="0"/>
        </a:p>
        <a:p>
          <a:r>
            <a:rPr lang="en-US" sz="900" dirty="0" smtClean="0"/>
            <a:t>Extended</a:t>
          </a:r>
        </a:p>
        <a:p>
          <a:r>
            <a:rPr lang="en-US" sz="900" dirty="0" smtClean="0"/>
            <a:t>Service </a:t>
          </a:r>
        </a:p>
        <a:p>
          <a:r>
            <a:rPr lang="en-US" sz="900" dirty="0" smtClean="0"/>
            <a:t>Offerings </a:t>
          </a:r>
          <a:endParaRPr lang="en-US" sz="900" dirty="0"/>
        </a:p>
      </dgm:t>
    </dgm:pt>
    <dgm:pt modelId="{21FFFEB4-32D6-1B48-8EAE-F44866577910}" type="parTrans" cxnId="{3730C22B-DDF2-6F4E-848D-65D438E57089}">
      <dgm:prSet/>
      <dgm:spPr/>
      <dgm:t>
        <a:bodyPr/>
        <a:lstStyle/>
        <a:p>
          <a:endParaRPr lang="en-US"/>
        </a:p>
      </dgm:t>
    </dgm:pt>
    <dgm:pt modelId="{5E9642F3-431D-1347-B6A7-F36FEB4B2B12}" type="sibTrans" cxnId="{3730C22B-DDF2-6F4E-848D-65D438E57089}">
      <dgm:prSet/>
      <dgm:spPr/>
      <dgm:t>
        <a:bodyPr/>
        <a:lstStyle/>
        <a:p>
          <a:endParaRPr lang="en-US"/>
        </a:p>
      </dgm:t>
    </dgm:pt>
    <dgm:pt modelId="{3CA6F452-F8DB-8E4B-811C-17A4E2706A4C}">
      <dgm:prSet phldrT="[Text]"/>
      <dgm:spPr/>
      <dgm:t>
        <a:bodyPr/>
        <a:lstStyle/>
        <a:p>
          <a:r>
            <a:rPr lang="en-US" b="1" dirty="0" smtClean="0"/>
            <a:t>We have</a:t>
          </a:r>
          <a:r>
            <a:rPr lang="en-US" b="1" baseline="0" dirty="0" smtClean="0"/>
            <a:t> now extended our Apica Service Offerings to advisory and best </a:t>
          </a:r>
          <a:r>
            <a:rPr lang="en-US" b="1" baseline="0" dirty="0" err="1" smtClean="0"/>
            <a:t>practises</a:t>
          </a:r>
          <a:r>
            <a:rPr lang="en-US" b="1" baseline="0" dirty="0" smtClean="0"/>
            <a:t> level in order to support our customers with Performance Excellence topics.</a:t>
          </a:r>
        </a:p>
        <a:p>
          <a:endParaRPr lang="en-US" b="1" dirty="0"/>
        </a:p>
      </dgm:t>
    </dgm:pt>
    <dgm:pt modelId="{689FA324-956F-FF4F-AEBF-B4EF48263F2B}" type="parTrans" cxnId="{595E64C0-BCB1-A54C-BB81-1D2495E39A96}">
      <dgm:prSet/>
      <dgm:spPr/>
      <dgm:t>
        <a:bodyPr/>
        <a:lstStyle/>
        <a:p>
          <a:endParaRPr lang="en-US"/>
        </a:p>
      </dgm:t>
    </dgm:pt>
    <dgm:pt modelId="{4AC8D64D-EE82-134D-8C6D-F0B814A09B54}" type="sibTrans" cxnId="{595E64C0-BCB1-A54C-BB81-1D2495E39A96}">
      <dgm:prSet/>
      <dgm:spPr/>
      <dgm:t>
        <a:bodyPr/>
        <a:lstStyle/>
        <a:p>
          <a:endParaRPr lang="en-US"/>
        </a:p>
      </dgm:t>
    </dgm:pt>
    <dgm:pt modelId="{C8D8F90E-1061-F645-AD67-A5CD3E1176A9}">
      <dgm:prSet phldrT="[Text]"/>
      <dgm:spPr/>
      <dgm:t>
        <a:bodyPr/>
        <a:lstStyle/>
        <a:p>
          <a:r>
            <a:rPr lang="en-US" b="1" dirty="0" smtClean="0"/>
            <a:t>The</a:t>
          </a:r>
          <a:r>
            <a:rPr lang="en-US" b="1" baseline="0" dirty="0" smtClean="0"/>
            <a:t> Extended Service Offerings are less tightly coupled to our products and instead more focused on customer value in the Web Performance disciplines.</a:t>
          </a:r>
          <a:endParaRPr lang="en-US" b="1" dirty="0"/>
        </a:p>
      </dgm:t>
    </dgm:pt>
    <dgm:pt modelId="{C8D9B23B-E6C9-0F4B-9437-97A145BE4ADE}" type="parTrans" cxnId="{4DA637F7-9B0E-4746-A979-022E52397E38}">
      <dgm:prSet/>
      <dgm:spPr/>
      <dgm:t>
        <a:bodyPr/>
        <a:lstStyle/>
        <a:p>
          <a:endParaRPr lang="en-US"/>
        </a:p>
      </dgm:t>
    </dgm:pt>
    <dgm:pt modelId="{FF8491E3-1487-0140-B09B-F5F3163E9041}" type="sibTrans" cxnId="{4DA637F7-9B0E-4746-A979-022E52397E38}">
      <dgm:prSet/>
      <dgm:spPr/>
      <dgm:t>
        <a:bodyPr/>
        <a:lstStyle/>
        <a:p>
          <a:endParaRPr lang="en-US"/>
        </a:p>
      </dgm:t>
    </dgm:pt>
    <dgm:pt modelId="{01005C1C-9280-9842-90D0-96102F25E2C9}" type="pres">
      <dgm:prSet presAssocID="{992F2844-9EB4-5645-BC0F-B12D4E1B2A7A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8DA1F83-2C16-5643-88D2-528F0CB562E3}" type="pres">
      <dgm:prSet presAssocID="{194B3D8D-BDF8-3547-8007-F9379E7148AF}" presName="composite" presStyleCnt="0"/>
      <dgm:spPr/>
    </dgm:pt>
    <dgm:pt modelId="{4DEB5FF4-B26E-F247-B62D-020335E18CFC}" type="pres">
      <dgm:prSet presAssocID="{194B3D8D-BDF8-3547-8007-F9379E7148AF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E32564-C5B4-0544-A757-3427E524AA93}" type="pres">
      <dgm:prSet presAssocID="{194B3D8D-BDF8-3547-8007-F9379E7148AF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2611FA-7C4E-8847-A4EB-B8E784E9B475}" type="pres">
      <dgm:prSet presAssocID="{13014426-F8B4-9045-9BED-098B9EE27550}" presName="sp" presStyleCnt="0"/>
      <dgm:spPr/>
    </dgm:pt>
    <dgm:pt modelId="{8990FFE3-814E-6D4E-AB18-89563AF86A84}" type="pres">
      <dgm:prSet presAssocID="{716AD652-089D-194D-8D69-93AF0EBAC840}" presName="composite" presStyleCnt="0"/>
      <dgm:spPr/>
    </dgm:pt>
    <dgm:pt modelId="{E0B4A215-B2A9-C840-8A25-FFD2330BFB48}" type="pres">
      <dgm:prSet presAssocID="{716AD652-089D-194D-8D69-93AF0EBAC84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EA099C-7DB1-574F-8393-644D9B60C0A9}" type="pres">
      <dgm:prSet presAssocID="{716AD652-089D-194D-8D69-93AF0EBAC84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5F30EA-44BC-AC4C-9D4E-158C27858D0D}" type="pres">
      <dgm:prSet presAssocID="{B62E40E3-762F-C642-AEFD-A405496731FD}" presName="sp" presStyleCnt="0"/>
      <dgm:spPr/>
    </dgm:pt>
    <dgm:pt modelId="{D89281EC-634B-2E42-BDEE-EE0991DA6B8A}" type="pres">
      <dgm:prSet presAssocID="{5AF3D49D-8F0A-B545-ACB7-675542BE8F00}" presName="composite" presStyleCnt="0"/>
      <dgm:spPr/>
    </dgm:pt>
    <dgm:pt modelId="{D2E1DE01-2B16-244A-85D5-7B464C67E346}" type="pres">
      <dgm:prSet presAssocID="{5AF3D49D-8F0A-B545-ACB7-675542BE8F0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DCED93-054D-EF40-84B1-A106E78E4828}" type="pres">
      <dgm:prSet presAssocID="{5AF3D49D-8F0A-B545-ACB7-675542BE8F0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95E64C0-BCB1-A54C-BB81-1D2495E39A96}" srcId="{5AF3D49D-8F0A-B545-ACB7-675542BE8F00}" destId="{3CA6F452-F8DB-8E4B-811C-17A4E2706A4C}" srcOrd="0" destOrd="0" parTransId="{689FA324-956F-FF4F-AEBF-B4EF48263F2B}" sibTransId="{4AC8D64D-EE82-134D-8C6D-F0B814A09B54}"/>
    <dgm:cxn modelId="{4484069F-AF53-C94C-BF53-CD479014A06B}" type="presOf" srcId="{26FE91E3-0313-1547-AE9F-777AAC407B77}" destId="{4CE32564-C5B4-0544-A757-3427E524AA93}" srcOrd="0" destOrd="0" presId="urn:microsoft.com/office/officeart/2005/8/layout/chevron2"/>
    <dgm:cxn modelId="{A428A4C6-EFF7-4C42-BAE6-3F97F6A847F9}" type="presOf" srcId="{5C0A238B-4B62-124A-AA53-669F35F04184}" destId="{89EA099C-7DB1-574F-8393-644D9B60C0A9}" srcOrd="0" destOrd="1" presId="urn:microsoft.com/office/officeart/2005/8/layout/chevron2"/>
    <dgm:cxn modelId="{F73AE43B-890C-CF4A-AAEB-D4C481417D03}" type="presOf" srcId="{5AF3D49D-8F0A-B545-ACB7-675542BE8F00}" destId="{D2E1DE01-2B16-244A-85D5-7B464C67E346}" srcOrd="0" destOrd="0" presId="urn:microsoft.com/office/officeart/2005/8/layout/chevron2"/>
    <dgm:cxn modelId="{3730C22B-DDF2-6F4E-848D-65D438E57089}" srcId="{992F2844-9EB4-5645-BC0F-B12D4E1B2A7A}" destId="{5AF3D49D-8F0A-B545-ACB7-675542BE8F00}" srcOrd="2" destOrd="0" parTransId="{21FFFEB4-32D6-1B48-8EAE-F44866577910}" sibTransId="{5E9642F3-431D-1347-B6A7-F36FEB4B2B12}"/>
    <dgm:cxn modelId="{91795223-8134-F049-995E-C2F511E9F12D}" srcId="{716AD652-089D-194D-8D69-93AF0EBAC840}" destId="{803DC9F0-EA9E-ED44-A7D7-E0366BF3992B}" srcOrd="0" destOrd="0" parTransId="{6FF7E547-A555-4142-A740-68E46669B46B}" sibTransId="{95F5E584-03A4-4D44-A6D4-E45F8A397E86}"/>
    <dgm:cxn modelId="{4DA637F7-9B0E-4746-A979-022E52397E38}" srcId="{5AF3D49D-8F0A-B545-ACB7-675542BE8F00}" destId="{C8D8F90E-1061-F645-AD67-A5CD3E1176A9}" srcOrd="1" destOrd="0" parTransId="{C8D9B23B-E6C9-0F4B-9437-97A145BE4ADE}" sibTransId="{FF8491E3-1487-0140-B09B-F5F3163E9041}"/>
    <dgm:cxn modelId="{364EA478-9406-724E-B58F-9A5611FE71BB}" type="presOf" srcId="{992F2844-9EB4-5645-BC0F-B12D4E1B2A7A}" destId="{01005C1C-9280-9842-90D0-96102F25E2C9}" srcOrd="0" destOrd="0" presId="urn:microsoft.com/office/officeart/2005/8/layout/chevron2"/>
    <dgm:cxn modelId="{63D39A90-5546-FD4E-8B5B-28305DEB9866}" srcId="{194B3D8D-BDF8-3547-8007-F9379E7148AF}" destId="{489783DD-613F-8E4A-8DAD-1A5D37BCE43E}" srcOrd="1" destOrd="0" parTransId="{ECCA7639-668C-FB4B-813D-C60F625BBB8F}" sibTransId="{DEBB2B88-FC61-F745-97FD-CCCA605288AB}"/>
    <dgm:cxn modelId="{9EF3BD04-61D0-FB40-8BFE-BFDDF25F0495}" srcId="{992F2844-9EB4-5645-BC0F-B12D4E1B2A7A}" destId="{194B3D8D-BDF8-3547-8007-F9379E7148AF}" srcOrd="0" destOrd="0" parTransId="{33A538F3-7C2A-714E-A18A-22EF02857F39}" sibTransId="{13014426-F8B4-9045-9BED-098B9EE27550}"/>
    <dgm:cxn modelId="{D7A3069D-7F1E-8749-9252-AE917E7D1CA3}" type="presOf" srcId="{194B3D8D-BDF8-3547-8007-F9379E7148AF}" destId="{4DEB5FF4-B26E-F247-B62D-020335E18CFC}" srcOrd="0" destOrd="0" presId="urn:microsoft.com/office/officeart/2005/8/layout/chevron2"/>
    <dgm:cxn modelId="{F60C0A1C-72E5-4646-B766-7D8726FDCAAD}" srcId="{716AD652-089D-194D-8D69-93AF0EBAC840}" destId="{5C0A238B-4B62-124A-AA53-669F35F04184}" srcOrd="1" destOrd="0" parTransId="{7997166B-6C52-F945-BFD9-07DE220B3490}" sibTransId="{665FF85B-FB05-3C4B-8BD2-6F83A54F609A}"/>
    <dgm:cxn modelId="{BFC916BF-8D0E-6246-8FB9-9A89CA08E3A2}" type="presOf" srcId="{803DC9F0-EA9E-ED44-A7D7-E0366BF3992B}" destId="{89EA099C-7DB1-574F-8393-644D9B60C0A9}" srcOrd="0" destOrd="0" presId="urn:microsoft.com/office/officeart/2005/8/layout/chevron2"/>
    <dgm:cxn modelId="{7AB323E4-1B0C-A645-8C3C-AE84B21A626A}" type="presOf" srcId="{C8D8F90E-1061-F645-AD67-A5CD3E1176A9}" destId="{FDDCED93-054D-EF40-84B1-A106E78E4828}" srcOrd="0" destOrd="1" presId="urn:microsoft.com/office/officeart/2005/8/layout/chevron2"/>
    <dgm:cxn modelId="{7F736D49-631B-BB44-8694-4073B602DD7E}" srcId="{194B3D8D-BDF8-3547-8007-F9379E7148AF}" destId="{26FE91E3-0313-1547-AE9F-777AAC407B77}" srcOrd="0" destOrd="0" parTransId="{95C0C29B-C618-C648-9732-850D712B6EE3}" sibTransId="{C83D238E-2F5C-0142-BE52-4DC62AA7E9A0}"/>
    <dgm:cxn modelId="{845B1A00-CEFD-CD4A-8009-C2DE5E5CE07B}" type="presOf" srcId="{489783DD-613F-8E4A-8DAD-1A5D37BCE43E}" destId="{4CE32564-C5B4-0544-A757-3427E524AA93}" srcOrd="0" destOrd="1" presId="urn:microsoft.com/office/officeart/2005/8/layout/chevron2"/>
    <dgm:cxn modelId="{14608A7E-E5DE-0A45-9479-226836389DCE}" type="presOf" srcId="{3CA6F452-F8DB-8E4B-811C-17A4E2706A4C}" destId="{FDDCED93-054D-EF40-84B1-A106E78E4828}" srcOrd="0" destOrd="0" presId="urn:microsoft.com/office/officeart/2005/8/layout/chevron2"/>
    <dgm:cxn modelId="{7BE6D25D-1D16-B240-AB34-1BF5FA0BED67}" srcId="{992F2844-9EB4-5645-BC0F-B12D4E1B2A7A}" destId="{716AD652-089D-194D-8D69-93AF0EBAC840}" srcOrd="1" destOrd="0" parTransId="{B11B4C5E-E86B-744C-A7E8-F9EE0032EFBC}" sibTransId="{B62E40E3-762F-C642-AEFD-A405496731FD}"/>
    <dgm:cxn modelId="{F4CD4FAA-BD55-F742-8E5F-77E11B7019DD}" type="presOf" srcId="{716AD652-089D-194D-8D69-93AF0EBAC840}" destId="{E0B4A215-B2A9-C840-8A25-FFD2330BFB48}" srcOrd="0" destOrd="0" presId="urn:microsoft.com/office/officeart/2005/8/layout/chevron2"/>
    <dgm:cxn modelId="{078B0331-65FB-1B4E-9B6A-116AD47C1375}" type="presParOf" srcId="{01005C1C-9280-9842-90D0-96102F25E2C9}" destId="{18DA1F83-2C16-5643-88D2-528F0CB562E3}" srcOrd="0" destOrd="0" presId="urn:microsoft.com/office/officeart/2005/8/layout/chevron2"/>
    <dgm:cxn modelId="{95D86AD8-5175-9142-A6A4-44D76C76F646}" type="presParOf" srcId="{18DA1F83-2C16-5643-88D2-528F0CB562E3}" destId="{4DEB5FF4-B26E-F247-B62D-020335E18CFC}" srcOrd="0" destOrd="0" presId="urn:microsoft.com/office/officeart/2005/8/layout/chevron2"/>
    <dgm:cxn modelId="{101DF49D-054C-B641-8906-1066C2799AEF}" type="presParOf" srcId="{18DA1F83-2C16-5643-88D2-528F0CB562E3}" destId="{4CE32564-C5B4-0544-A757-3427E524AA93}" srcOrd="1" destOrd="0" presId="urn:microsoft.com/office/officeart/2005/8/layout/chevron2"/>
    <dgm:cxn modelId="{3D9FA2DB-F9F9-D944-8A24-7BF2B5B1A650}" type="presParOf" srcId="{01005C1C-9280-9842-90D0-96102F25E2C9}" destId="{402611FA-7C4E-8847-A4EB-B8E784E9B475}" srcOrd="1" destOrd="0" presId="urn:microsoft.com/office/officeart/2005/8/layout/chevron2"/>
    <dgm:cxn modelId="{07522A7D-36D1-6D43-8A26-CE86E9C85E1C}" type="presParOf" srcId="{01005C1C-9280-9842-90D0-96102F25E2C9}" destId="{8990FFE3-814E-6D4E-AB18-89563AF86A84}" srcOrd="2" destOrd="0" presId="urn:microsoft.com/office/officeart/2005/8/layout/chevron2"/>
    <dgm:cxn modelId="{B33A3F02-C499-6248-946F-4EC9FF939135}" type="presParOf" srcId="{8990FFE3-814E-6D4E-AB18-89563AF86A84}" destId="{E0B4A215-B2A9-C840-8A25-FFD2330BFB48}" srcOrd="0" destOrd="0" presId="urn:microsoft.com/office/officeart/2005/8/layout/chevron2"/>
    <dgm:cxn modelId="{30B7727B-05A1-0646-B0AF-E00F012520E3}" type="presParOf" srcId="{8990FFE3-814E-6D4E-AB18-89563AF86A84}" destId="{89EA099C-7DB1-574F-8393-644D9B60C0A9}" srcOrd="1" destOrd="0" presId="urn:microsoft.com/office/officeart/2005/8/layout/chevron2"/>
    <dgm:cxn modelId="{B6E3796B-615E-D542-A4FC-7A632378BC2E}" type="presParOf" srcId="{01005C1C-9280-9842-90D0-96102F25E2C9}" destId="{065F30EA-44BC-AC4C-9D4E-158C27858D0D}" srcOrd="3" destOrd="0" presId="urn:microsoft.com/office/officeart/2005/8/layout/chevron2"/>
    <dgm:cxn modelId="{70D25D4C-C302-4343-A37E-B22E26293C23}" type="presParOf" srcId="{01005C1C-9280-9842-90D0-96102F25E2C9}" destId="{D89281EC-634B-2E42-BDEE-EE0991DA6B8A}" srcOrd="4" destOrd="0" presId="urn:microsoft.com/office/officeart/2005/8/layout/chevron2"/>
    <dgm:cxn modelId="{CC68146D-D35A-C446-9CDC-75A62DA49FE7}" type="presParOf" srcId="{D89281EC-634B-2E42-BDEE-EE0991DA6B8A}" destId="{D2E1DE01-2B16-244A-85D5-7B464C67E346}" srcOrd="0" destOrd="0" presId="urn:microsoft.com/office/officeart/2005/8/layout/chevron2"/>
    <dgm:cxn modelId="{0D24FE97-CB28-5D46-AA3C-F818CCF34137}" type="presParOf" srcId="{D89281EC-634B-2E42-BDEE-EE0991DA6B8A}" destId="{FDDCED93-054D-EF40-84B1-A106E78E482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2A61DC-F647-A646-8244-98608CCE42D5}" type="doc">
      <dgm:prSet loTypeId="urn:microsoft.com/office/officeart/2005/8/layout/target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AC4F3B0-B757-6E43-843C-770739995FC2}">
      <dgm:prSet phldrT="[Text]" custT="1"/>
      <dgm:spPr/>
      <dgm:t>
        <a:bodyPr/>
        <a:lstStyle/>
        <a:p>
          <a:r>
            <a:rPr lang="en-US" sz="1200" dirty="0" smtClean="0"/>
            <a:t>Topic</a:t>
          </a:r>
          <a:r>
            <a:rPr lang="en-US" sz="1200" baseline="0" dirty="0" smtClean="0"/>
            <a:t> description</a:t>
          </a:r>
          <a:endParaRPr lang="en-US" sz="1200" dirty="0"/>
        </a:p>
      </dgm:t>
    </dgm:pt>
    <dgm:pt modelId="{D78E0928-63CB-094C-8CA3-D502BD1712A9}" type="parTrans" cxnId="{7E6FCC32-6ECE-274C-81A4-67CD93C052FC}">
      <dgm:prSet/>
      <dgm:spPr/>
      <dgm:t>
        <a:bodyPr/>
        <a:lstStyle/>
        <a:p>
          <a:endParaRPr lang="en-US"/>
        </a:p>
      </dgm:t>
    </dgm:pt>
    <dgm:pt modelId="{F3F6533E-1C57-A64C-BE8E-56E38AEE903A}" type="sibTrans" cxnId="{7E6FCC32-6ECE-274C-81A4-67CD93C052FC}">
      <dgm:prSet/>
      <dgm:spPr/>
      <dgm:t>
        <a:bodyPr/>
        <a:lstStyle/>
        <a:p>
          <a:endParaRPr lang="en-US"/>
        </a:p>
      </dgm:t>
    </dgm:pt>
    <dgm:pt modelId="{8310B895-0A23-9A45-A5FE-993835CFFA16}">
      <dgm:prSet phldrT="[Text]"/>
      <dgm:spPr/>
      <dgm:t>
        <a:bodyPr/>
        <a:lstStyle/>
        <a:p>
          <a:r>
            <a:rPr lang="en-US" b="1" dirty="0" smtClean="0"/>
            <a:t>Continuous</a:t>
          </a:r>
          <a:r>
            <a:rPr lang="en-US" b="1" baseline="0" dirty="0" smtClean="0"/>
            <a:t> Integration and Testing are parts of Agile development and </a:t>
          </a:r>
          <a:r>
            <a:rPr lang="en-US" b="1" baseline="0" dirty="0" err="1" smtClean="0"/>
            <a:t>DevOps</a:t>
          </a:r>
          <a:r>
            <a:rPr lang="en-US" b="1" baseline="0" dirty="0" smtClean="0"/>
            <a:t> disciplines.</a:t>
          </a:r>
        </a:p>
        <a:p>
          <a:r>
            <a:rPr lang="en-US" b="1" baseline="0" dirty="0" smtClean="0"/>
            <a:t> </a:t>
          </a:r>
          <a:endParaRPr lang="en-US" b="1" dirty="0"/>
        </a:p>
      </dgm:t>
    </dgm:pt>
    <dgm:pt modelId="{CFB15E8C-F474-0E4A-A5D3-75CD0EB37ED7}" type="parTrans" cxnId="{C94E3646-DC1E-8844-825C-1A4E8D9F113D}">
      <dgm:prSet/>
      <dgm:spPr/>
      <dgm:t>
        <a:bodyPr/>
        <a:lstStyle/>
        <a:p>
          <a:endParaRPr lang="en-US"/>
        </a:p>
      </dgm:t>
    </dgm:pt>
    <dgm:pt modelId="{B0FF2D96-8390-254F-AFAF-B7D5DA044AA5}" type="sibTrans" cxnId="{C94E3646-DC1E-8844-825C-1A4E8D9F113D}">
      <dgm:prSet/>
      <dgm:spPr/>
      <dgm:t>
        <a:bodyPr/>
        <a:lstStyle/>
        <a:p>
          <a:endParaRPr lang="en-US"/>
        </a:p>
      </dgm:t>
    </dgm:pt>
    <dgm:pt modelId="{E14991A0-26B9-6C4E-B218-41F919361B68}">
      <dgm:prSet phldrT="[Text]"/>
      <dgm:spPr/>
      <dgm:t>
        <a:bodyPr/>
        <a:lstStyle/>
        <a:p>
          <a:r>
            <a:rPr lang="en-US" b="1" dirty="0" smtClean="0"/>
            <a:t>Load testing</a:t>
          </a:r>
          <a:r>
            <a:rPr lang="en-US" b="1" baseline="0" dirty="0" smtClean="0"/>
            <a:t> in this context means that it is integrated in the continuous build &amp; release management processes of applications.</a:t>
          </a:r>
          <a:endParaRPr lang="en-US" b="1" dirty="0"/>
        </a:p>
      </dgm:t>
    </dgm:pt>
    <dgm:pt modelId="{A6D110EA-B330-9744-990A-B09C057D59D8}" type="parTrans" cxnId="{F487EA11-109E-1A41-9FF9-83C3A6EAD649}">
      <dgm:prSet/>
      <dgm:spPr/>
      <dgm:t>
        <a:bodyPr/>
        <a:lstStyle/>
        <a:p>
          <a:endParaRPr lang="en-US"/>
        </a:p>
      </dgm:t>
    </dgm:pt>
    <dgm:pt modelId="{6D1531AA-79A4-6041-91D5-E0297C3569DA}" type="sibTrans" cxnId="{F487EA11-109E-1A41-9FF9-83C3A6EAD649}">
      <dgm:prSet/>
      <dgm:spPr/>
      <dgm:t>
        <a:bodyPr/>
        <a:lstStyle/>
        <a:p>
          <a:endParaRPr lang="en-US"/>
        </a:p>
      </dgm:t>
    </dgm:pt>
    <dgm:pt modelId="{77B847B6-FD69-F541-AA83-66CE48C9D29B}">
      <dgm:prSet phldrT="[Text]" custT="1"/>
      <dgm:spPr/>
      <dgm:t>
        <a:bodyPr/>
        <a:lstStyle/>
        <a:p>
          <a:r>
            <a:rPr lang="en-US" sz="1200" dirty="0" smtClean="0"/>
            <a:t>Apica product capabilities</a:t>
          </a:r>
          <a:endParaRPr lang="en-US" sz="1200" dirty="0"/>
        </a:p>
      </dgm:t>
    </dgm:pt>
    <dgm:pt modelId="{FD5B18CB-7E0F-A340-90AD-4F58D8AF6D26}" type="parTrans" cxnId="{E2B2F99D-60D2-1D48-8A23-82B29E5A9274}">
      <dgm:prSet/>
      <dgm:spPr/>
      <dgm:t>
        <a:bodyPr/>
        <a:lstStyle/>
        <a:p>
          <a:endParaRPr lang="en-US"/>
        </a:p>
      </dgm:t>
    </dgm:pt>
    <dgm:pt modelId="{8F0D28EF-8010-0A45-B3D0-090C02173FBA}" type="sibTrans" cxnId="{E2B2F99D-60D2-1D48-8A23-82B29E5A9274}">
      <dgm:prSet/>
      <dgm:spPr/>
      <dgm:t>
        <a:bodyPr/>
        <a:lstStyle/>
        <a:p>
          <a:endParaRPr lang="en-US"/>
        </a:p>
      </dgm:t>
    </dgm:pt>
    <dgm:pt modelId="{0D40FA0E-076E-1E4C-9343-C40DBB1E5CC6}">
      <dgm:prSet phldrT="[Text]"/>
      <dgm:spPr/>
      <dgm:t>
        <a:bodyPr/>
        <a:lstStyle/>
        <a:p>
          <a:r>
            <a:rPr lang="en-US" b="1" dirty="0" smtClean="0"/>
            <a:t>The Apica Load testing product suite is ready</a:t>
          </a:r>
          <a:r>
            <a:rPr lang="en-US" b="1" baseline="0" dirty="0" smtClean="0"/>
            <a:t> to manage continuous integration.</a:t>
          </a:r>
        </a:p>
        <a:p>
          <a:endParaRPr lang="en-US" b="1" dirty="0"/>
        </a:p>
      </dgm:t>
    </dgm:pt>
    <dgm:pt modelId="{0E424A64-2A65-8E43-B7BD-2BFA4B4C83D8}" type="parTrans" cxnId="{F3CDA932-FADE-BB46-A698-B7BB75D7E736}">
      <dgm:prSet/>
      <dgm:spPr/>
      <dgm:t>
        <a:bodyPr/>
        <a:lstStyle/>
        <a:p>
          <a:endParaRPr lang="en-US"/>
        </a:p>
      </dgm:t>
    </dgm:pt>
    <dgm:pt modelId="{3B3BBACD-796B-824B-B722-A05C2D9295A6}" type="sibTrans" cxnId="{F3CDA932-FADE-BB46-A698-B7BB75D7E736}">
      <dgm:prSet/>
      <dgm:spPr/>
      <dgm:t>
        <a:bodyPr/>
        <a:lstStyle/>
        <a:p>
          <a:endParaRPr lang="en-US"/>
        </a:p>
      </dgm:t>
    </dgm:pt>
    <dgm:pt modelId="{4AB3FB99-79B2-1149-891F-FF8CB30F30EB}">
      <dgm:prSet phldrT="[Text]"/>
      <dgm:spPr/>
      <dgm:t>
        <a:bodyPr/>
        <a:lstStyle/>
        <a:p>
          <a:r>
            <a:rPr lang="en-US" b="1" dirty="0" smtClean="0"/>
            <a:t>We integrate our tools with the leading</a:t>
          </a:r>
          <a:r>
            <a:rPr lang="en-US" b="1" baseline="0" dirty="0" smtClean="0"/>
            <a:t> solutions in this area.</a:t>
          </a:r>
        </a:p>
        <a:p>
          <a:endParaRPr lang="en-US" b="1" baseline="0" dirty="0" smtClean="0"/>
        </a:p>
      </dgm:t>
    </dgm:pt>
    <dgm:pt modelId="{7BB578DE-BBD5-F94C-9D27-618E3792BC7A}" type="parTrans" cxnId="{5204DFA6-7EFC-274D-8AAE-BC3F29B58E92}">
      <dgm:prSet/>
      <dgm:spPr/>
      <dgm:t>
        <a:bodyPr/>
        <a:lstStyle/>
        <a:p>
          <a:endParaRPr lang="en-US"/>
        </a:p>
      </dgm:t>
    </dgm:pt>
    <dgm:pt modelId="{9A84A7F5-53C6-384A-A5C7-29A93170A494}" type="sibTrans" cxnId="{5204DFA6-7EFC-274D-8AAE-BC3F29B58E92}">
      <dgm:prSet/>
      <dgm:spPr/>
      <dgm:t>
        <a:bodyPr/>
        <a:lstStyle/>
        <a:p>
          <a:endParaRPr lang="en-US"/>
        </a:p>
      </dgm:t>
    </dgm:pt>
    <dgm:pt modelId="{AADC749F-403E-4446-85BD-E2CC0FE53C9A}">
      <dgm:prSet phldrT="[Text]" custT="1"/>
      <dgm:spPr/>
      <dgm:t>
        <a:bodyPr/>
        <a:lstStyle/>
        <a:p>
          <a:r>
            <a:rPr lang="en-US" sz="1200" dirty="0" smtClean="0"/>
            <a:t>Service</a:t>
          </a:r>
          <a:r>
            <a:rPr lang="en-US" sz="1200" baseline="0" dirty="0" smtClean="0"/>
            <a:t> deliveries</a:t>
          </a:r>
          <a:endParaRPr lang="en-US" sz="1200" dirty="0"/>
        </a:p>
      </dgm:t>
    </dgm:pt>
    <dgm:pt modelId="{42C7E1BE-3FEB-784D-9308-BF0C82E231A9}" type="parTrans" cxnId="{CFBD0C78-3870-0B43-95A6-5D4BD1734062}">
      <dgm:prSet/>
      <dgm:spPr/>
      <dgm:t>
        <a:bodyPr/>
        <a:lstStyle/>
        <a:p>
          <a:endParaRPr lang="en-US"/>
        </a:p>
      </dgm:t>
    </dgm:pt>
    <dgm:pt modelId="{E16E0C5D-F05E-8849-8574-EDED0992FA10}" type="sibTrans" cxnId="{CFBD0C78-3870-0B43-95A6-5D4BD1734062}">
      <dgm:prSet/>
      <dgm:spPr/>
      <dgm:t>
        <a:bodyPr/>
        <a:lstStyle/>
        <a:p>
          <a:endParaRPr lang="en-US"/>
        </a:p>
      </dgm:t>
    </dgm:pt>
    <dgm:pt modelId="{791CBFC3-0D3B-0D4F-AD6A-C0F1FBBC51A4}">
      <dgm:prSet phldrT="[Text]"/>
      <dgm:spPr/>
      <dgm:t>
        <a:bodyPr/>
        <a:lstStyle/>
        <a:p>
          <a:r>
            <a:rPr lang="en-US" b="1" dirty="0" smtClean="0"/>
            <a:t>We help</a:t>
          </a:r>
          <a:r>
            <a:rPr lang="en-US" b="1" baseline="0" dirty="0" smtClean="0"/>
            <a:t> you to develop and maintain load test scenarios which works in your test environment for continuous delivery/testing.  </a:t>
          </a:r>
          <a:endParaRPr lang="en-US" b="1" dirty="0"/>
        </a:p>
      </dgm:t>
    </dgm:pt>
    <dgm:pt modelId="{C956413A-A215-F84F-B4E9-79D2E83AD400}" type="parTrans" cxnId="{E3F6B9E9-4AB7-9A45-BBC5-326219D0DE6E}">
      <dgm:prSet/>
      <dgm:spPr/>
      <dgm:t>
        <a:bodyPr/>
        <a:lstStyle/>
        <a:p>
          <a:endParaRPr lang="en-US"/>
        </a:p>
      </dgm:t>
    </dgm:pt>
    <dgm:pt modelId="{92DEC0A2-7524-5C43-A678-3B93A94B2EB4}" type="sibTrans" cxnId="{E3F6B9E9-4AB7-9A45-BBC5-326219D0DE6E}">
      <dgm:prSet/>
      <dgm:spPr/>
      <dgm:t>
        <a:bodyPr/>
        <a:lstStyle/>
        <a:p>
          <a:endParaRPr lang="en-US"/>
        </a:p>
      </dgm:t>
    </dgm:pt>
    <dgm:pt modelId="{136B1BF3-82ED-C148-8E57-865D431094BD}">
      <dgm:prSet phldrT="[Text]"/>
      <dgm:spPr/>
      <dgm:t>
        <a:bodyPr/>
        <a:lstStyle/>
        <a:p>
          <a:endParaRPr lang="en-US" b="1" dirty="0" smtClean="0"/>
        </a:p>
        <a:p>
          <a:r>
            <a:rPr lang="en-US" b="1" dirty="0" smtClean="0"/>
            <a:t>We</a:t>
          </a:r>
          <a:r>
            <a:rPr lang="en-US" b="1" baseline="0" dirty="0" smtClean="0"/>
            <a:t> help you with setting up integration between Apica load test management platform and your tools &amp; processes in continuous integration. </a:t>
          </a:r>
          <a:endParaRPr lang="en-US" b="1" dirty="0" smtClean="0"/>
        </a:p>
        <a:p>
          <a:endParaRPr lang="en-US" dirty="0" smtClean="0"/>
        </a:p>
      </dgm:t>
    </dgm:pt>
    <dgm:pt modelId="{6BEF99E4-A208-D542-99B4-65FD685ADC2B}" type="parTrans" cxnId="{165F1488-5232-F44F-ACBD-2DBFAD6A5A6C}">
      <dgm:prSet/>
      <dgm:spPr/>
      <dgm:t>
        <a:bodyPr/>
        <a:lstStyle/>
        <a:p>
          <a:endParaRPr lang="en-US"/>
        </a:p>
      </dgm:t>
    </dgm:pt>
    <dgm:pt modelId="{54D2631C-5320-4E40-8324-33443552FAFA}" type="sibTrans" cxnId="{165F1488-5232-F44F-ACBD-2DBFAD6A5A6C}">
      <dgm:prSet/>
      <dgm:spPr/>
      <dgm:t>
        <a:bodyPr/>
        <a:lstStyle/>
        <a:p>
          <a:endParaRPr lang="en-US"/>
        </a:p>
      </dgm:t>
    </dgm:pt>
    <dgm:pt modelId="{D59B0033-3EC5-BD4D-84DF-574560CBA822}">
      <dgm:prSet phldrT="[Text]"/>
      <dgm:spPr/>
      <dgm:t>
        <a:bodyPr/>
        <a:lstStyle/>
        <a:p>
          <a:r>
            <a:rPr lang="en-US" b="1" baseline="0" dirty="0" smtClean="0"/>
            <a:t>You can automate execution of load tests with the automation API in our load test management platform.</a:t>
          </a:r>
        </a:p>
      </dgm:t>
    </dgm:pt>
    <dgm:pt modelId="{F984BD8B-90F9-F244-8114-8F09F8502973}" type="parTrans" cxnId="{DECE93A8-920A-BE44-AB37-271A3A499810}">
      <dgm:prSet/>
      <dgm:spPr/>
      <dgm:t>
        <a:bodyPr/>
        <a:lstStyle/>
        <a:p>
          <a:endParaRPr lang="en-US"/>
        </a:p>
      </dgm:t>
    </dgm:pt>
    <dgm:pt modelId="{64FED2A1-2DB7-454B-9399-70B7E019A867}" type="sibTrans" cxnId="{DECE93A8-920A-BE44-AB37-271A3A499810}">
      <dgm:prSet/>
      <dgm:spPr/>
      <dgm:t>
        <a:bodyPr/>
        <a:lstStyle/>
        <a:p>
          <a:endParaRPr lang="en-US"/>
        </a:p>
      </dgm:t>
    </dgm:pt>
    <dgm:pt modelId="{E701C720-F3BB-8043-9381-2CEDAEBB5C67}" type="pres">
      <dgm:prSet presAssocID="{9F2A61DC-F647-A646-8244-98608CCE42D5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5164253-072A-614F-903A-8D0150F8E534}" type="pres">
      <dgm:prSet presAssocID="{0AC4F3B0-B757-6E43-843C-770739995FC2}" presName="circle1" presStyleLbl="node1" presStyleIdx="0" presStyleCnt="3"/>
      <dgm:spPr/>
    </dgm:pt>
    <dgm:pt modelId="{CC75BB4E-6C2E-104D-BEA4-59A8F58A61DC}" type="pres">
      <dgm:prSet presAssocID="{0AC4F3B0-B757-6E43-843C-770739995FC2}" presName="space" presStyleCnt="0"/>
      <dgm:spPr/>
    </dgm:pt>
    <dgm:pt modelId="{41A8A450-3A67-1641-B699-20902B4A23DF}" type="pres">
      <dgm:prSet presAssocID="{0AC4F3B0-B757-6E43-843C-770739995FC2}" presName="rect1" presStyleLbl="alignAcc1" presStyleIdx="0" presStyleCnt="3"/>
      <dgm:spPr/>
      <dgm:t>
        <a:bodyPr/>
        <a:lstStyle/>
        <a:p>
          <a:endParaRPr lang="en-US"/>
        </a:p>
      </dgm:t>
    </dgm:pt>
    <dgm:pt modelId="{32BB585C-B0C0-F946-B628-0C4B145896D2}" type="pres">
      <dgm:prSet presAssocID="{77B847B6-FD69-F541-AA83-66CE48C9D29B}" presName="vertSpace2" presStyleLbl="node1" presStyleIdx="0" presStyleCnt="3"/>
      <dgm:spPr/>
    </dgm:pt>
    <dgm:pt modelId="{869D9061-673A-9142-9313-F0D8E79E6A61}" type="pres">
      <dgm:prSet presAssocID="{77B847B6-FD69-F541-AA83-66CE48C9D29B}" presName="circle2" presStyleLbl="node1" presStyleIdx="1" presStyleCnt="3"/>
      <dgm:spPr/>
    </dgm:pt>
    <dgm:pt modelId="{EE0CBB45-F7B7-4748-905B-A7C070B29A65}" type="pres">
      <dgm:prSet presAssocID="{77B847B6-FD69-F541-AA83-66CE48C9D29B}" presName="rect2" presStyleLbl="alignAcc1" presStyleIdx="1" presStyleCnt="3"/>
      <dgm:spPr/>
      <dgm:t>
        <a:bodyPr/>
        <a:lstStyle/>
        <a:p>
          <a:endParaRPr lang="en-US"/>
        </a:p>
      </dgm:t>
    </dgm:pt>
    <dgm:pt modelId="{83E98EDE-FC8E-2A4D-9D2A-B22D8E6358DE}" type="pres">
      <dgm:prSet presAssocID="{AADC749F-403E-4446-85BD-E2CC0FE53C9A}" presName="vertSpace3" presStyleLbl="node1" presStyleIdx="1" presStyleCnt="3"/>
      <dgm:spPr/>
    </dgm:pt>
    <dgm:pt modelId="{C77E8184-22AA-BF48-9F4F-9F90431F0C2E}" type="pres">
      <dgm:prSet presAssocID="{AADC749F-403E-4446-85BD-E2CC0FE53C9A}" presName="circle3" presStyleLbl="node1" presStyleIdx="2" presStyleCnt="3"/>
      <dgm:spPr/>
    </dgm:pt>
    <dgm:pt modelId="{B36AD82A-C8F2-0F43-8E48-32DEF045C05D}" type="pres">
      <dgm:prSet presAssocID="{AADC749F-403E-4446-85BD-E2CC0FE53C9A}" presName="rect3" presStyleLbl="alignAcc1" presStyleIdx="2" presStyleCnt="3"/>
      <dgm:spPr/>
      <dgm:t>
        <a:bodyPr/>
        <a:lstStyle/>
        <a:p>
          <a:endParaRPr lang="en-US"/>
        </a:p>
      </dgm:t>
    </dgm:pt>
    <dgm:pt modelId="{33F1143D-D5F7-CF44-B42D-90B1C95DC730}" type="pres">
      <dgm:prSet presAssocID="{0AC4F3B0-B757-6E43-843C-770739995FC2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932E85-D96A-2643-A3E2-A224C6357A9B}" type="pres">
      <dgm:prSet presAssocID="{0AC4F3B0-B757-6E43-843C-770739995FC2}" presName="rect1ChTx" presStyleLbl="alignAcc1" presStyleIdx="2" presStyleCnt="3" custScaleX="1012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293385-356B-9546-BBAA-773D9D70F35C}" type="pres">
      <dgm:prSet presAssocID="{77B847B6-FD69-F541-AA83-66CE48C9D29B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96B1EE-5FF1-1E4D-BCA4-AFACA6BDB4CD}" type="pres">
      <dgm:prSet presAssocID="{77B847B6-FD69-F541-AA83-66CE48C9D29B}" presName="rect2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B3030-A485-E84E-886D-7D73CE39FC15}" type="pres">
      <dgm:prSet presAssocID="{AADC749F-403E-4446-85BD-E2CC0FE53C9A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94B3F2-DDA0-CF47-9CB5-E42950A451A1}" type="pres">
      <dgm:prSet presAssocID="{AADC749F-403E-4446-85BD-E2CC0FE53C9A}" presName="rect3ChTx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976B1EE-0274-7C40-A818-743583D99CCD}" type="presOf" srcId="{E14991A0-26B9-6C4E-B218-41F919361B68}" destId="{10932E85-D96A-2643-A3E2-A224C6357A9B}" srcOrd="0" destOrd="1" presId="urn:microsoft.com/office/officeart/2005/8/layout/target3"/>
    <dgm:cxn modelId="{2B578786-C8C2-E248-8D46-205C118AE5A1}" type="presOf" srcId="{77B847B6-FD69-F541-AA83-66CE48C9D29B}" destId="{EE0CBB45-F7B7-4748-905B-A7C070B29A65}" srcOrd="0" destOrd="0" presId="urn:microsoft.com/office/officeart/2005/8/layout/target3"/>
    <dgm:cxn modelId="{F487EA11-109E-1A41-9FF9-83C3A6EAD649}" srcId="{0AC4F3B0-B757-6E43-843C-770739995FC2}" destId="{E14991A0-26B9-6C4E-B218-41F919361B68}" srcOrd="1" destOrd="0" parTransId="{A6D110EA-B330-9744-990A-B09C057D59D8}" sibTransId="{6D1531AA-79A4-6041-91D5-E0297C3569DA}"/>
    <dgm:cxn modelId="{21F64D1F-3A5A-BE4F-8058-39D2F002BB06}" type="presOf" srcId="{AADC749F-403E-4446-85BD-E2CC0FE53C9A}" destId="{B32B3030-A485-E84E-886D-7D73CE39FC15}" srcOrd="1" destOrd="0" presId="urn:microsoft.com/office/officeart/2005/8/layout/target3"/>
    <dgm:cxn modelId="{E2B2F99D-60D2-1D48-8A23-82B29E5A9274}" srcId="{9F2A61DC-F647-A646-8244-98608CCE42D5}" destId="{77B847B6-FD69-F541-AA83-66CE48C9D29B}" srcOrd="1" destOrd="0" parTransId="{FD5B18CB-7E0F-A340-90AD-4F58D8AF6D26}" sibTransId="{8F0D28EF-8010-0A45-B3D0-090C02173FBA}"/>
    <dgm:cxn modelId="{BCC4E62F-113F-6842-923D-6201E6D01D7D}" type="presOf" srcId="{0AC4F3B0-B757-6E43-843C-770739995FC2}" destId="{41A8A450-3A67-1641-B699-20902B4A23DF}" srcOrd="0" destOrd="0" presId="urn:microsoft.com/office/officeart/2005/8/layout/target3"/>
    <dgm:cxn modelId="{CF04F310-092E-6142-B3AF-7BA033352C44}" type="presOf" srcId="{D59B0033-3EC5-BD4D-84DF-574560CBA822}" destId="{AC96B1EE-5FF1-1E4D-BCA4-AFACA6BDB4CD}" srcOrd="0" destOrd="2" presId="urn:microsoft.com/office/officeart/2005/8/layout/target3"/>
    <dgm:cxn modelId="{C398F0C8-E0A1-174D-BBA4-1E1CCEAD8C0D}" type="presOf" srcId="{0AC4F3B0-B757-6E43-843C-770739995FC2}" destId="{33F1143D-D5F7-CF44-B42D-90B1C95DC730}" srcOrd="1" destOrd="0" presId="urn:microsoft.com/office/officeart/2005/8/layout/target3"/>
    <dgm:cxn modelId="{E3F6B9E9-4AB7-9A45-BBC5-326219D0DE6E}" srcId="{AADC749F-403E-4446-85BD-E2CC0FE53C9A}" destId="{791CBFC3-0D3B-0D4F-AD6A-C0F1FBBC51A4}" srcOrd="0" destOrd="0" parTransId="{C956413A-A215-F84F-B4E9-79D2E83AD400}" sibTransId="{92DEC0A2-7524-5C43-A678-3B93A94B2EB4}"/>
    <dgm:cxn modelId="{CFBD0C78-3870-0B43-95A6-5D4BD1734062}" srcId="{9F2A61DC-F647-A646-8244-98608CCE42D5}" destId="{AADC749F-403E-4446-85BD-E2CC0FE53C9A}" srcOrd="2" destOrd="0" parTransId="{42C7E1BE-3FEB-784D-9308-BF0C82E231A9}" sibTransId="{E16E0C5D-F05E-8849-8574-EDED0992FA10}"/>
    <dgm:cxn modelId="{B1EF98A5-559A-A544-9B78-5C55ED5FEEDD}" type="presOf" srcId="{791CBFC3-0D3B-0D4F-AD6A-C0F1FBBC51A4}" destId="{5A94B3F2-DDA0-CF47-9CB5-E42950A451A1}" srcOrd="0" destOrd="0" presId="urn:microsoft.com/office/officeart/2005/8/layout/target3"/>
    <dgm:cxn modelId="{DECE93A8-920A-BE44-AB37-271A3A499810}" srcId="{77B847B6-FD69-F541-AA83-66CE48C9D29B}" destId="{D59B0033-3EC5-BD4D-84DF-574560CBA822}" srcOrd="2" destOrd="0" parTransId="{F984BD8B-90F9-F244-8114-8F09F8502973}" sibTransId="{64FED2A1-2DB7-454B-9399-70B7E019A867}"/>
    <dgm:cxn modelId="{5204DFA6-7EFC-274D-8AAE-BC3F29B58E92}" srcId="{77B847B6-FD69-F541-AA83-66CE48C9D29B}" destId="{4AB3FB99-79B2-1149-891F-FF8CB30F30EB}" srcOrd="1" destOrd="0" parTransId="{7BB578DE-BBD5-F94C-9D27-618E3792BC7A}" sibTransId="{9A84A7F5-53C6-384A-A5C7-29A93170A494}"/>
    <dgm:cxn modelId="{010D7A9E-DBC5-CF44-B886-B1AFAB7D1234}" type="presOf" srcId="{77B847B6-FD69-F541-AA83-66CE48C9D29B}" destId="{5E293385-356B-9546-BBAA-773D9D70F35C}" srcOrd="1" destOrd="0" presId="urn:microsoft.com/office/officeart/2005/8/layout/target3"/>
    <dgm:cxn modelId="{7E6FCC32-6ECE-274C-81A4-67CD93C052FC}" srcId="{9F2A61DC-F647-A646-8244-98608CCE42D5}" destId="{0AC4F3B0-B757-6E43-843C-770739995FC2}" srcOrd="0" destOrd="0" parTransId="{D78E0928-63CB-094C-8CA3-D502BD1712A9}" sibTransId="{F3F6533E-1C57-A64C-BE8E-56E38AEE903A}"/>
    <dgm:cxn modelId="{7926FD7D-E3D3-9F40-8201-C8C90438EF6E}" type="presOf" srcId="{0D40FA0E-076E-1E4C-9343-C40DBB1E5CC6}" destId="{AC96B1EE-5FF1-1E4D-BCA4-AFACA6BDB4CD}" srcOrd="0" destOrd="0" presId="urn:microsoft.com/office/officeart/2005/8/layout/target3"/>
    <dgm:cxn modelId="{C94E3646-DC1E-8844-825C-1A4E8D9F113D}" srcId="{0AC4F3B0-B757-6E43-843C-770739995FC2}" destId="{8310B895-0A23-9A45-A5FE-993835CFFA16}" srcOrd="0" destOrd="0" parTransId="{CFB15E8C-F474-0E4A-A5D3-75CD0EB37ED7}" sibTransId="{B0FF2D96-8390-254F-AFAF-B7D5DA044AA5}"/>
    <dgm:cxn modelId="{10CC8C83-A8B1-F345-A860-0F4B60E7D29E}" type="presOf" srcId="{136B1BF3-82ED-C148-8E57-865D431094BD}" destId="{5A94B3F2-DDA0-CF47-9CB5-E42950A451A1}" srcOrd="0" destOrd="1" presId="urn:microsoft.com/office/officeart/2005/8/layout/target3"/>
    <dgm:cxn modelId="{FCDB8309-B59E-1743-8042-01E2EA1DE6E0}" type="presOf" srcId="{9F2A61DC-F647-A646-8244-98608CCE42D5}" destId="{E701C720-F3BB-8043-9381-2CEDAEBB5C67}" srcOrd="0" destOrd="0" presId="urn:microsoft.com/office/officeart/2005/8/layout/target3"/>
    <dgm:cxn modelId="{0AE8D068-82FD-B540-806C-344938B7FA7C}" type="presOf" srcId="{4AB3FB99-79B2-1149-891F-FF8CB30F30EB}" destId="{AC96B1EE-5FF1-1E4D-BCA4-AFACA6BDB4CD}" srcOrd="0" destOrd="1" presId="urn:microsoft.com/office/officeart/2005/8/layout/target3"/>
    <dgm:cxn modelId="{165F1488-5232-F44F-ACBD-2DBFAD6A5A6C}" srcId="{AADC749F-403E-4446-85BD-E2CC0FE53C9A}" destId="{136B1BF3-82ED-C148-8E57-865D431094BD}" srcOrd="1" destOrd="0" parTransId="{6BEF99E4-A208-D542-99B4-65FD685ADC2B}" sibTransId="{54D2631C-5320-4E40-8324-33443552FAFA}"/>
    <dgm:cxn modelId="{623EC9C4-AEE4-6148-8C01-285115FA09F7}" type="presOf" srcId="{8310B895-0A23-9A45-A5FE-993835CFFA16}" destId="{10932E85-D96A-2643-A3E2-A224C6357A9B}" srcOrd="0" destOrd="0" presId="urn:microsoft.com/office/officeart/2005/8/layout/target3"/>
    <dgm:cxn modelId="{F3CDA932-FADE-BB46-A698-B7BB75D7E736}" srcId="{77B847B6-FD69-F541-AA83-66CE48C9D29B}" destId="{0D40FA0E-076E-1E4C-9343-C40DBB1E5CC6}" srcOrd="0" destOrd="0" parTransId="{0E424A64-2A65-8E43-B7BD-2BFA4B4C83D8}" sibTransId="{3B3BBACD-796B-824B-B722-A05C2D9295A6}"/>
    <dgm:cxn modelId="{13B296E4-728E-A040-8B02-77F76F71B434}" type="presOf" srcId="{AADC749F-403E-4446-85BD-E2CC0FE53C9A}" destId="{B36AD82A-C8F2-0F43-8E48-32DEF045C05D}" srcOrd="0" destOrd="0" presId="urn:microsoft.com/office/officeart/2005/8/layout/target3"/>
    <dgm:cxn modelId="{C6CAEF53-79DE-FC47-A8FD-1C8E7EAD91F6}" type="presParOf" srcId="{E701C720-F3BB-8043-9381-2CEDAEBB5C67}" destId="{C5164253-072A-614F-903A-8D0150F8E534}" srcOrd="0" destOrd="0" presId="urn:microsoft.com/office/officeart/2005/8/layout/target3"/>
    <dgm:cxn modelId="{88A685B0-1D73-764D-988F-9508BB4CDD42}" type="presParOf" srcId="{E701C720-F3BB-8043-9381-2CEDAEBB5C67}" destId="{CC75BB4E-6C2E-104D-BEA4-59A8F58A61DC}" srcOrd="1" destOrd="0" presId="urn:microsoft.com/office/officeart/2005/8/layout/target3"/>
    <dgm:cxn modelId="{91729CDF-BDA8-5F45-8CEF-E313DD35BBC6}" type="presParOf" srcId="{E701C720-F3BB-8043-9381-2CEDAEBB5C67}" destId="{41A8A450-3A67-1641-B699-20902B4A23DF}" srcOrd="2" destOrd="0" presId="urn:microsoft.com/office/officeart/2005/8/layout/target3"/>
    <dgm:cxn modelId="{227A9B2D-FF59-9248-8A83-104C99D967E5}" type="presParOf" srcId="{E701C720-F3BB-8043-9381-2CEDAEBB5C67}" destId="{32BB585C-B0C0-F946-B628-0C4B145896D2}" srcOrd="3" destOrd="0" presId="urn:microsoft.com/office/officeart/2005/8/layout/target3"/>
    <dgm:cxn modelId="{C3D8AE83-1206-424C-8B21-CD89D8A8A79F}" type="presParOf" srcId="{E701C720-F3BB-8043-9381-2CEDAEBB5C67}" destId="{869D9061-673A-9142-9313-F0D8E79E6A61}" srcOrd="4" destOrd="0" presId="urn:microsoft.com/office/officeart/2005/8/layout/target3"/>
    <dgm:cxn modelId="{CC87978D-969E-F34B-B59C-BD90BFAC9645}" type="presParOf" srcId="{E701C720-F3BB-8043-9381-2CEDAEBB5C67}" destId="{EE0CBB45-F7B7-4748-905B-A7C070B29A65}" srcOrd="5" destOrd="0" presId="urn:microsoft.com/office/officeart/2005/8/layout/target3"/>
    <dgm:cxn modelId="{EC44AD6F-8411-1046-B84D-7F30E4C5A1FB}" type="presParOf" srcId="{E701C720-F3BB-8043-9381-2CEDAEBB5C67}" destId="{83E98EDE-FC8E-2A4D-9D2A-B22D8E6358DE}" srcOrd="6" destOrd="0" presId="urn:microsoft.com/office/officeart/2005/8/layout/target3"/>
    <dgm:cxn modelId="{CDE13D14-B781-C246-89C5-E8FEFE5AC317}" type="presParOf" srcId="{E701C720-F3BB-8043-9381-2CEDAEBB5C67}" destId="{C77E8184-22AA-BF48-9F4F-9F90431F0C2E}" srcOrd="7" destOrd="0" presId="urn:microsoft.com/office/officeart/2005/8/layout/target3"/>
    <dgm:cxn modelId="{B32B9549-7EBF-A547-8EF8-2285937A3AC2}" type="presParOf" srcId="{E701C720-F3BB-8043-9381-2CEDAEBB5C67}" destId="{B36AD82A-C8F2-0F43-8E48-32DEF045C05D}" srcOrd="8" destOrd="0" presId="urn:microsoft.com/office/officeart/2005/8/layout/target3"/>
    <dgm:cxn modelId="{217AA915-7384-F941-A9C8-11C9B8CFBFC9}" type="presParOf" srcId="{E701C720-F3BB-8043-9381-2CEDAEBB5C67}" destId="{33F1143D-D5F7-CF44-B42D-90B1C95DC730}" srcOrd="9" destOrd="0" presId="urn:microsoft.com/office/officeart/2005/8/layout/target3"/>
    <dgm:cxn modelId="{F767EACC-0DD6-3847-A0D2-351AC24F8DCD}" type="presParOf" srcId="{E701C720-F3BB-8043-9381-2CEDAEBB5C67}" destId="{10932E85-D96A-2643-A3E2-A224C6357A9B}" srcOrd="10" destOrd="0" presId="urn:microsoft.com/office/officeart/2005/8/layout/target3"/>
    <dgm:cxn modelId="{EBC5FBCE-0DEC-2148-8AAC-99866AE10683}" type="presParOf" srcId="{E701C720-F3BB-8043-9381-2CEDAEBB5C67}" destId="{5E293385-356B-9546-BBAA-773D9D70F35C}" srcOrd="11" destOrd="0" presId="urn:microsoft.com/office/officeart/2005/8/layout/target3"/>
    <dgm:cxn modelId="{83E66AC3-FE37-2348-8063-17D168BE537C}" type="presParOf" srcId="{E701C720-F3BB-8043-9381-2CEDAEBB5C67}" destId="{AC96B1EE-5FF1-1E4D-BCA4-AFACA6BDB4CD}" srcOrd="12" destOrd="0" presId="urn:microsoft.com/office/officeart/2005/8/layout/target3"/>
    <dgm:cxn modelId="{47110AB1-FDFF-2B42-9E66-1282E7F63098}" type="presParOf" srcId="{E701C720-F3BB-8043-9381-2CEDAEBB5C67}" destId="{B32B3030-A485-E84E-886D-7D73CE39FC15}" srcOrd="13" destOrd="0" presId="urn:microsoft.com/office/officeart/2005/8/layout/target3"/>
    <dgm:cxn modelId="{2AC4D93D-0CE9-114C-80E5-3ABB98548A8D}" type="presParOf" srcId="{E701C720-F3BB-8043-9381-2CEDAEBB5C67}" destId="{5A94B3F2-DDA0-CF47-9CB5-E42950A451A1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F2A61DC-F647-A646-8244-98608CCE42D5}" type="doc">
      <dgm:prSet loTypeId="urn:microsoft.com/office/officeart/2005/8/layout/target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AC4F3B0-B757-6E43-843C-770739995FC2}">
      <dgm:prSet phldrT="[Text]" custT="1"/>
      <dgm:spPr/>
      <dgm:t>
        <a:bodyPr/>
        <a:lstStyle/>
        <a:p>
          <a:r>
            <a:rPr lang="en-US" sz="1200" dirty="0" smtClean="0"/>
            <a:t>Topic</a:t>
          </a:r>
          <a:r>
            <a:rPr lang="en-US" sz="1200" baseline="0" dirty="0" smtClean="0"/>
            <a:t> description</a:t>
          </a:r>
          <a:endParaRPr lang="en-US" sz="1200" dirty="0"/>
        </a:p>
      </dgm:t>
    </dgm:pt>
    <dgm:pt modelId="{D78E0928-63CB-094C-8CA3-D502BD1712A9}" type="parTrans" cxnId="{7E6FCC32-6ECE-274C-81A4-67CD93C052FC}">
      <dgm:prSet/>
      <dgm:spPr/>
      <dgm:t>
        <a:bodyPr/>
        <a:lstStyle/>
        <a:p>
          <a:endParaRPr lang="en-US"/>
        </a:p>
      </dgm:t>
    </dgm:pt>
    <dgm:pt modelId="{F3F6533E-1C57-A64C-BE8E-56E38AEE903A}" type="sibTrans" cxnId="{7E6FCC32-6ECE-274C-81A4-67CD93C052FC}">
      <dgm:prSet/>
      <dgm:spPr/>
      <dgm:t>
        <a:bodyPr/>
        <a:lstStyle/>
        <a:p>
          <a:endParaRPr lang="en-US"/>
        </a:p>
      </dgm:t>
    </dgm:pt>
    <dgm:pt modelId="{8310B895-0A23-9A45-A5FE-993835CFFA16}">
      <dgm:prSet phldrT="[Text]" custT="1"/>
      <dgm:spPr/>
      <dgm:t>
        <a:bodyPr/>
        <a:lstStyle/>
        <a:p>
          <a:pPr marL="5715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baseline="0" dirty="0" smtClean="0"/>
            <a:t>With Agile development and continues delivery the demand for various types of  run-time environments is critical. </a:t>
          </a:r>
        </a:p>
      </dgm:t>
    </dgm:pt>
    <dgm:pt modelId="{CFB15E8C-F474-0E4A-A5D3-75CD0EB37ED7}" type="parTrans" cxnId="{C94E3646-DC1E-8844-825C-1A4E8D9F113D}">
      <dgm:prSet/>
      <dgm:spPr/>
      <dgm:t>
        <a:bodyPr/>
        <a:lstStyle/>
        <a:p>
          <a:endParaRPr lang="en-US"/>
        </a:p>
      </dgm:t>
    </dgm:pt>
    <dgm:pt modelId="{B0FF2D96-8390-254F-AFAF-B7D5DA044AA5}" type="sibTrans" cxnId="{C94E3646-DC1E-8844-825C-1A4E8D9F113D}">
      <dgm:prSet/>
      <dgm:spPr/>
      <dgm:t>
        <a:bodyPr/>
        <a:lstStyle/>
        <a:p>
          <a:endParaRPr lang="en-US"/>
        </a:p>
      </dgm:t>
    </dgm:pt>
    <dgm:pt modelId="{E14991A0-26B9-6C4E-B218-41F919361B68}">
      <dgm:prSet phldrT="[Text]" custT="1"/>
      <dgm:spPr/>
      <dgm:t>
        <a:bodyPr/>
        <a:lstStyle/>
        <a:p>
          <a:pPr marL="57150" marR="0" lvl="1" indent="-57150" algn="l" defTabSz="48895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en-US" sz="800" b="1" dirty="0" smtClean="0"/>
            <a:t>Reliable</a:t>
          </a:r>
          <a:r>
            <a:rPr lang="en-US" sz="800" b="1" baseline="0" dirty="0" smtClean="0"/>
            <a:t> and efficient procedures for provisioning of environments for development, testing, pre-production is needed</a:t>
          </a:r>
          <a:endParaRPr lang="en-US" sz="800" b="1" dirty="0"/>
        </a:p>
      </dgm:t>
    </dgm:pt>
    <dgm:pt modelId="{A6D110EA-B330-9744-990A-B09C057D59D8}" type="parTrans" cxnId="{F487EA11-109E-1A41-9FF9-83C3A6EAD649}">
      <dgm:prSet/>
      <dgm:spPr/>
      <dgm:t>
        <a:bodyPr/>
        <a:lstStyle/>
        <a:p>
          <a:endParaRPr lang="en-US"/>
        </a:p>
      </dgm:t>
    </dgm:pt>
    <dgm:pt modelId="{6D1531AA-79A4-6041-91D5-E0297C3569DA}" type="sibTrans" cxnId="{F487EA11-109E-1A41-9FF9-83C3A6EAD649}">
      <dgm:prSet/>
      <dgm:spPr/>
      <dgm:t>
        <a:bodyPr/>
        <a:lstStyle/>
        <a:p>
          <a:endParaRPr lang="en-US"/>
        </a:p>
      </dgm:t>
    </dgm:pt>
    <dgm:pt modelId="{77B847B6-FD69-F541-AA83-66CE48C9D29B}">
      <dgm:prSet phldrT="[Text]" custT="1"/>
      <dgm:spPr/>
      <dgm:t>
        <a:bodyPr/>
        <a:lstStyle/>
        <a:p>
          <a:r>
            <a:rPr lang="en-US" sz="1200" dirty="0" smtClean="0"/>
            <a:t>Apica</a:t>
          </a:r>
        </a:p>
        <a:p>
          <a:r>
            <a:rPr lang="en-US" sz="1200" dirty="0" smtClean="0"/>
            <a:t>Service</a:t>
          </a:r>
          <a:r>
            <a:rPr lang="en-US" sz="1200" baseline="0" dirty="0" smtClean="0"/>
            <a:t> Overview</a:t>
          </a:r>
          <a:endParaRPr lang="en-US" sz="1200" dirty="0"/>
        </a:p>
      </dgm:t>
    </dgm:pt>
    <dgm:pt modelId="{FD5B18CB-7E0F-A340-90AD-4F58D8AF6D26}" type="parTrans" cxnId="{E2B2F99D-60D2-1D48-8A23-82B29E5A9274}">
      <dgm:prSet/>
      <dgm:spPr/>
      <dgm:t>
        <a:bodyPr/>
        <a:lstStyle/>
        <a:p>
          <a:endParaRPr lang="en-US"/>
        </a:p>
      </dgm:t>
    </dgm:pt>
    <dgm:pt modelId="{8F0D28EF-8010-0A45-B3D0-090C02173FBA}" type="sibTrans" cxnId="{E2B2F99D-60D2-1D48-8A23-82B29E5A9274}">
      <dgm:prSet/>
      <dgm:spPr/>
      <dgm:t>
        <a:bodyPr/>
        <a:lstStyle/>
        <a:p>
          <a:endParaRPr lang="en-US"/>
        </a:p>
      </dgm:t>
    </dgm:pt>
    <dgm:pt modelId="{4AB3FB99-79B2-1149-891F-FF8CB30F30EB}">
      <dgm:prSet phldrT="[Text]" custT="1"/>
      <dgm:spPr/>
      <dgm:t>
        <a:bodyPr/>
        <a:lstStyle/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baseline="0" dirty="0" smtClean="0"/>
            <a:t> Using your preferred toolset and implement optimal level of automation</a:t>
          </a:r>
        </a:p>
      </dgm:t>
    </dgm:pt>
    <dgm:pt modelId="{7BB578DE-BBD5-F94C-9D27-618E3792BC7A}" type="parTrans" cxnId="{5204DFA6-7EFC-274D-8AAE-BC3F29B58E92}">
      <dgm:prSet/>
      <dgm:spPr/>
      <dgm:t>
        <a:bodyPr/>
        <a:lstStyle/>
        <a:p>
          <a:endParaRPr lang="en-US"/>
        </a:p>
      </dgm:t>
    </dgm:pt>
    <dgm:pt modelId="{9A84A7F5-53C6-384A-A5C7-29A93170A494}" type="sibTrans" cxnId="{5204DFA6-7EFC-274D-8AAE-BC3F29B58E92}">
      <dgm:prSet/>
      <dgm:spPr/>
      <dgm:t>
        <a:bodyPr/>
        <a:lstStyle/>
        <a:p>
          <a:endParaRPr lang="en-US"/>
        </a:p>
      </dgm:t>
    </dgm:pt>
    <dgm:pt modelId="{AADC749F-403E-4446-85BD-E2CC0FE53C9A}">
      <dgm:prSet phldrT="[Text]" custT="1"/>
      <dgm:spPr/>
      <dgm:t>
        <a:bodyPr/>
        <a:lstStyle/>
        <a:p>
          <a:r>
            <a:rPr lang="en-US" sz="1200" baseline="0" dirty="0" smtClean="0"/>
            <a:t>Examples of deliveries </a:t>
          </a:r>
          <a:endParaRPr lang="en-US" sz="1200" dirty="0"/>
        </a:p>
      </dgm:t>
    </dgm:pt>
    <dgm:pt modelId="{42C7E1BE-3FEB-784D-9308-BF0C82E231A9}" type="parTrans" cxnId="{CFBD0C78-3870-0B43-95A6-5D4BD1734062}">
      <dgm:prSet/>
      <dgm:spPr/>
      <dgm:t>
        <a:bodyPr/>
        <a:lstStyle/>
        <a:p>
          <a:endParaRPr lang="en-US"/>
        </a:p>
      </dgm:t>
    </dgm:pt>
    <dgm:pt modelId="{E16E0C5D-F05E-8849-8574-EDED0992FA10}" type="sibTrans" cxnId="{CFBD0C78-3870-0B43-95A6-5D4BD1734062}">
      <dgm:prSet/>
      <dgm:spPr/>
      <dgm:t>
        <a:bodyPr/>
        <a:lstStyle/>
        <a:p>
          <a:endParaRPr lang="en-US"/>
        </a:p>
      </dgm:t>
    </dgm:pt>
    <dgm:pt modelId="{791CBFC3-0D3B-0D4F-AD6A-C0F1FBBC51A4}">
      <dgm:prSet phldrT="[Text]" custT="1"/>
      <dgm:spPr/>
      <dgm:t>
        <a:bodyPr/>
        <a:lstStyle/>
        <a:p>
          <a:r>
            <a:rPr lang="en-US" sz="800" b="1" baseline="0" dirty="0" smtClean="0"/>
            <a:t>Automated provisioning of test environment</a:t>
          </a:r>
        </a:p>
      </dgm:t>
    </dgm:pt>
    <dgm:pt modelId="{C956413A-A215-F84F-B4E9-79D2E83AD400}" type="parTrans" cxnId="{E3F6B9E9-4AB7-9A45-BBC5-326219D0DE6E}">
      <dgm:prSet/>
      <dgm:spPr/>
      <dgm:t>
        <a:bodyPr/>
        <a:lstStyle/>
        <a:p>
          <a:endParaRPr lang="en-US"/>
        </a:p>
      </dgm:t>
    </dgm:pt>
    <dgm:pt modelId="{92DEC0A2-7524-5C43-A678-3B93A94B2EB4}" type="sibTrans" cxnId="{E3F6B9E9-4AB7-9A45-BBC5-326219D0DE6E}">
      <dgm:prSet/>
      <dgm:spPr/>
      <dgm:t>
        <a:bodyPr/>
        <a:lstStyle/>
        <a:p>
          <a:endParaRPr lang="en-US"/>
        </a:p>
      </dgm:t>
    </dgm:pt>
    <dgm:pt modelId="{136B1BF3-82ED-C148-8E57-865D431094BD}">
      <dgm:prSet phldrT="[Text]" custT="1"/>
      <dgm:spPr/>
      <dgm:t>
        <a:bodyPr/>
        <a:lstStyle/>
        <a:p>
          <a:r>
            <a:rPr lang="en-US" sz="800" b="1" dirty="0" smtClean="0"/>
            <a:t>Automated</a:t>
          </a:r>
          <a:r>
            <a:rPr lang="en-US" sz="800" b="1" baseline="0" dirty="0" smtClean="0"/>
            <a:t> test data management for functional and load testing purpose. </a:t>
          </a:r>
          <a:r>
            <a:rPr lang="en-US" sz="800" b="1" baseline="0" dirty="0" err="1" smtClean="0"/>
            <a:t>Synthentical</a:t>
          </a:r>
          <a:r>
            <a:rPr lang="en-US" sz="800" b="1" baseline="0" dirty="0" smtClean="0"/>
            <a:t> data generation and  anonymization of  production data.</a:t>
          </a:r>
        </a:p>
      </dgm:t>
    </dgm:pt>
    <dgm:pt modelId="{6BEF99E4-A208-D542-99B4-65FD685ADC2B}" type="parTrans" cxnId="{165F1488-5232-F44F-ACBD-2DBFAD6A5A6C}">
      <dgm:prSet/>
      <dgm:spPr/>
      <dgm:t>
        <a:bodyPr/>
        <a:lstStyle/>
        <a:p>
          <a:endParaRPr lang="en-US"/>
        </a:p>
      </dgm:t>
    </dgm:pt>
    <dgm:pt modelId="{54D2631C-5320-4E40-8324-33443552FAFA}" type="sibTrans" cxnId="{165F1488-5232-F44F-ACBD-2DBFAD6A5A6C}">
      <dgm:prSet/>
      <dgm:spPr/>
      <dgm:t>
        <a:bodyPr/>
        <a:lstStyle/>
        <a:p>
          <a:endParaRPr lang="en-US"/>
        </a:p>
      </dgm:t>
    </dgm:pt>
    <dgm:pt modelId="{3D0F9176-9E4B-6144-A70A-A5D6BC0CAB75}">
      <dgm:prSet phldrT="[Text]" custT="1"/>
      <dgm:spPr/>
      <dgm:t>
        <a:bodyPr/>
        <a:lstStyle/>
        <a:p>
          <a:r>
            <a:rPr lang="en-US" sz="800" b="1" dirty="0" smtClean="0"/>
            <a:t>Virtualization</a:t>
          </a:r>
          <a:r>
            <a:rPr lang="en-US" sz="800" b="1" baseline="0" dirty="0" smtClean="0"/>
            <a:t> of  depended external services.  Aka  Service Mockups or Service Virtualization</a:t>
          </a:r>
          <a:endParaRPr lang="en-US" sz="800" b="1" dirty="0" smtClean="0"/>
        </a:p>
      </dgm:t>
    </dgm:pt>
    <dgm:pt modelId="{CA6F9627-690E-2446-AA69-B4D6E247F10F}" type="parTrans" cxnId="{9F04094B-7702-6D48-8F2C-FDD96C42976D}">
      <dgm:prSet/>
      <dgm:spPr/>
      <dgm:t>
        <a:bodyPr/>
        <a:lstStyle/>
        <a:p>
          <a:endParaRPr lang="en-US"/>
        </a:p>
      </dgm:t>
    </dgm:pt>
    <dgm:pt modelId="{9CAB5551-C57C-D24E-87A2-C39A5F027274}" type="sibTrans" cxnId="{9F04094B-7702-6D48-8F2C-FDD96C42976D}">
      <dgm:prSet/>
      <dgm:spPr/>
      <dgm:t>
        <a:bodyPr/>
        <a:lstStyle/>
        <a:p>
          <a:endParaRPr lang="en-US"/>
        </a:p>
      </dgm:t>
    </dgm:pt>
    <dgm:pt modelId="{E1A85230-7DE0-2843-B7D8-EFE010F4A3D5}">
      <dgm:prSet phldrT="[Text]" custT="1"/>
      <dgm:spPr/>
      <dgm:t>
        <a:bodyPr/>
        <a:lstStyle/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baseline="0" dirty="0" smtClean="0"/>
            <a:t>Setting up run-time environments for development and testing including infrastructure, OS layer, software, applications with valid test data.</a:t>
          </a:r>
        </a:p>
      </dgm:t>
    </dgm:pt>
    <dgm:pt modelId="{A04BFF56-A6C6-5E4E-ABE6-DA9D4CEEC6DF}" type="parTrans" cxnId="{23E41812-4F7C-2A42-A040-108A0D9F55FE}">
      <dgm:prSet/>
      <dgm:spPr/>
      <dgm:t>
        <a:bodyPr/>
        <a:lstStyle/>
        <a:p>
          <a:endParaRPr lang="en-US"/>
        </a:p>
      </dgm:t>
    </dgm:pt>
    <dgm:pt modelId="{EBE4A919-C2AB-0949-9CCA-FBBDE022FADB}" type="sibTrans" cxnId="{23E41812-4F7C-2A42-A040-108A0D9F55FE}">
      <dgm:prSet/>
      <dgm:spPr/>
      <dgm:t>
        <a:bodyPr/>
        <a:lstStyle/>
        <a:p>
          <a:endParaRPr lang="en-US"/>
        </a:p>
      </dgm:t>
    </dgm:pt>
    <dgm:pt modelId="{60A3F115-361E-CC40-8CE6-29927FA67505}">
      <dgm:prSet phldrT="[Text]" custT="1"/>
      <dgm:spPr/>
      <dgm:t>
        <a:bodyPr/>
        <a:lstStyle/>
        <a:p>
          <a:endParaRPr lang="en-US" sz="900" b="1" baseline="0" dirty="0" smtClean="0"/>
        </a:p>
      </dgm:t>
    </dgm:pt>
    <dgm:pt modelId="{8F54A125-0BC5-C54C-BA03-F9789A5DBB5A}" type="parTrans" cxnId="{1B6AE321-5664-7241-95C2-E2F5B72EBCC0}">
      <dgm:prSet/>
      <dgm:spPr/>
      <dgm:t>
        <a:bodyPr/>
        <a:lstStyle/>
        <a:p>
          <a:endParaRPr lang="en-US"/>
        </a:p>
      </dgm:t>
    </dgm:pt>
    <dgm:pt modelId="{17B9795C-B615-FA49-98F7-9EFA708BB4DD}" type="sibTrans" cxnId="{1B6AE321-5664-7241-95C2-E2F5B72EBCC0}">
      <dgm:prSet/>
      <dgm:spPr/>
      <dgm:t>
        <a:bodyPr/>
        <a:lstStyle/>
        <a:p>
          <a:endParaRPr lang="en-US"/>
        </a:p>
      </dgm:t>
    </dgm:pt>
    <dgm:pt modelId="{19D6996A-9A5B-1C44-9891-B58F5C209F7D}">
      <dgm:prSet phldrT="[Text]" custT="1"/>
      <dgm:spPr/>
      <dgm:t>
        <a:bodyPr/>
        <a:lstStyle/>
        <a:p>
          <a:pPr marL="5715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800" b="1" baseline="0" dirty="0" smtClean="0"/>
        </a:p>
      </dgm:t>
    </dgm:pt>
    <dgm:pt modelId="{C1ACE338-E7B0-1041-A8F2-DF13FDF41F38}" type="parTrans" cxnId="{F1249973-0BFA-7745-BFCF-EDC535E8F4B7}">
      <dgm:prSet/>
      <dgm:spPr/>
      <dgm:t>
        <a:bodyPr/>
        <a:lstStyle/>
        <a:p>
          <a:endParaRPr lang="en-US"/>
        </a:p>
      </dgm:t>
    </dgm:pt>
    <dgm:pt modelId="{F0A68853-4B87-2640-89CF-1F0FB4271B38}" type="sibTrans" cxnId="{F1249973-0BFA-7745-BFCF-EDC535E8F4B7}">
      <dgm:prSet/>
      <dgm:spPr/>
      <dgm:t>
        <a:bodyPr/>
        <a:lstStyle/>
        <a:p>
          <a:endParaRPr lang="en-US"/>
        </a:p>
      </dgm:t>
    </dgm:pt>
    <dgm:pt modelId="{ACD44569-3C2F-0144-BE25-56D101517078}">
      <dgm:prSet phldrT="[Text]" custT="1"/>
      <dgm:spPr/>
      <dgm:t>
        <a:bodyPr/>
        <a:lstStyle/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800" b="1" baseline="0" dirty="0" smtClean="0"/>
        </a:p>
      </dgm:t>
    </dgm:pt>
    <dgm:pt modelId="{25463254-74A7-F440-B009-6978167ACEEA}" type="parTrans" cxnId="{9A6F2883-7B2D-574D-80F2-44F161666CBB}">
      <dgm:prSet/>
      <dgm:spPr/>
      <dgm:t>
        <a:bodyPr/>
        <a:lstStyle/>
        <a:p>
          <a:endParaRPr lang="en-US"/>
        </a:p>
      </dgm:t>
    </dgm:pt>
    <dgm:pt modelId="{73B8F0D1-CC42-6D46-85D4-CEDE8213AB16}" type="sibTrans" cxnId="{9A6F2883-7B2D-574D-80F2-44F161666CBB}">
      <dgm:prSet/>
      <dgm:spPr/>
      <dgm:t>
        <a:bodyPr/>
        <a:lstStyle/>
        <a:p>
          <a:endParaRPr lang="en-US"/>
        </a:p>
      </dgm:t>
    </dgm:pt>
    <dgm:pt modelId="{CDE9B30A-AB03-1F48-B582-94B54D7E092F}">
      <dgm:prSet phldrT="[Text]" custT="1"/>
      <dgm:spPr/>
      <dgm:t>
        <a:bodyPr/>
        <a:lstStyle/>
        <a:p>
          <a:endParaRPr lang="en-US" sz="800" b="1" baseline="0" dirty="0" smtClean="0"/>
        </a:p>
      </dgm:t>
    </dgm:pt>
    <dgm:pt modelId="{EE8A1D81-8572-A04F-8F52-F23747893867}" type="parTrans" cxnId="{DD6C3DB2-AEF1-FB4A-8D9A-31671498F913}">
      <dgm:prSet/>
      <dgm:spPr/>
      <dgm:t>
        <a:bodyPr/>
        <a:lstStyle/>
        <a:p>
          <a:endParaRPr lang="en-US"/>
        </a:p>
      </dgm:t>
    </dgm:pt>
    <dgm:pt modelId="{23F0ED5F-BA4A-CC4D-8773-6B026169822E}" type="sibTrans" cxnId="{DD6C3DB2-AEF1-FB4A-8D9A-31671498F913}">
      <dgm:prSet/>
      <dgm:spPr/>
      <dgm:t>
        <a:bodyPr/>
        <a:lstStyle/>
        <a:p>
          <a:endParaRPr lang="en-US"/>
        </a:p>
      </dgm:t>
    </dgm:pt>
    <dgm:pt modelId="{5B3B912A-9C0D-FD4D-977C-5A57F2F70F05}">
      <dgm:prSet phldrT="[Text]" custT="1"/>
      <dgm:spPr/>
      <dgm:t>
        <a:bodyPr/>
        <a:lstStyle/>
        <a:p>
          <a:endParaRPr lang="en-US" sz="800" b="1" baseline="0" dirty="0" smtClean="0"/>
        </a:p>
      </dgm:t>
    </dgm:pt>
    <dgm:pt modelId="{8900F5BE-D23C-A345-A80B-550A4329861F}" type="parTrans" cxnId="{FA1E7EF3-B959-3742-898C-8FEB88C3E688}">
      <dgm:prSet/>
      <dgm:spPr/>
      <dgm:t>
        <a:bodyPr/>
        <a:lstStyle/>
        <a:p>
          <a:endParaRPr lang="en-US"/>
        </a:p>
      </dgm:t>
    </dgm:pt>
    <dgm:pt modelId="{0547407F-6A83-5A4D-ADE7-0003FE8F04F1}" type="sibTrans" cxnId="{FA1E7EF3-B959-3742-898C-8FEB88C3E688}">
      <dgm:prSet/>
      <dgm:spPr/>
      <dgm:t>
        <a:bodyPr/>
        <a:lstStyle/>
        <a:p>
          <a:endParaRPr lang="en-US"/>
        </a:p>
      </dgm:t>
    </dgm:pt>
    <dgm:pt modelId="{E701C720-F3BB-8043-9381-2CEDAEBB5C67}" type="pres">
      <dgm:prSet presAssocID="{9F2A61DC-F647-A646-8244-98608CCE42D5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5164253-072A-614F-903A-8D0150F8E534}" type="pres">
      <dgm:prSet presAssocID="{0AC4F3B0-B757-6E43-843C-770739995FC2}" presName="circle1" presStyleLbl="node1" presStyleIdx="0" presStyleCnt="3"/>
      <dgm:spPr/>
    </dgm:pt>
    <dgm:pt modelId="{CC75BB4E-6C2E-104D-BEA4-59A8F58A61DC}" type="pres">
      <dgm:prSet presAssocID="{0AC4F3B0-B757-6E43-843C-770739995FC2}" presName="space" presStyleCnt="0"/>
      <dgm:spPr/>
    </dgm:pt>
    <dgm:pt modelId="{41A8A450-3A67-1641-B699-20902B4A23DF}" type="pres">
      <dgm:prSet presAssocID="{0AC4F3B0-B757-6E43-843C-770739995FC2}" presName="rect1" presStyleLbl="alignAcc1" presStyleIdx="0" presStyleCnt="3"/>
      <dgm:spPr/>
      <dgm:t>
        <a:bodyPr/>
        <a:lstStyle/>
        <a:p>
          <a:endParaRPr lang="en-US"/>
        </a:p>
      </dgm:t>
    </dgm:pt>
    <dgm:pt modelId="{32BB585C-B0C0-F946-B628-0C4B145896D2}" type="pres">
      <dgm:prSet presAssocID="{77B847B6-FD69-F541-AA83-66CE48C9D29B}" presName="vertSpace2" presStyleLbl="node1" presStyleIdx="0" presStyleCnt="3"/>
      <dgm:spPr/>
    </dgm:pt>
    <dgm:pt modelId="{869D9061-673A-9142-9313-F0D8E79E6A61}" type="pres">
      <dgm:prSet presAssocID="{77B847B6-FD69-F541-AA83-66CE48C9D29B}" presName="circle2" presStyleLbl="node1" presStyleIdx="1" presStyleCnt="3"/>
      <dgm:spPr/>
    </dgm:pt>
    <dgm:pt modelId="{EE0CBB45-F7B7-4748-905B-A7C070B29A65}" type="pres">
      <dgm:prSet presAssocID="{77B847B6-FD69-F541-AA83-66CE48C9D29B}" presName="rect2" presStyleLbl="alignAcc1" presStyleIdx="1" presStyleCnt="3" custLinFactNeighborX="4" custLinFactNeighborY="796"/>
      <dgm:spPr/>
      <dgm:t>
        <a:bodyPr/>
        <a:lstStyle/>
        <a:p>
          <a:endParaRPr lang="en-US"/>
        </a:p>
      </dgm:t>
    </dgm:pt>
    <dgm:pt modelId="{83E98EDE-FC8E-2A4D-9D2A-B22D8E6358DE}" type="pres">
      <dgm:prSet presAssocID="{AADC749F-403E-4446-85BD-E2CC0FE53C9A}" presName="vertSpace3" presStyleLbl="node1" presStyleIdx="1" presStyleCnt="3"/>
      <dgm:spPr/>
    </dgm:pt>
    <dgm:pt modelId="{C77E8184-22AA-BF48-9F4F-9F90431F0C2E}" type="pres">
      <dgm:prSet presAssocID="{AADC749F-403E-4446-85BD-E2CC0FE53C9A}" presName="circle3" presStyleLbl="node1" presStyleIdx="2" presStyleCnt="3"/>
      <dgm:spPr/>
    </dgm:pt>
    <dgm:pt modelId="{B36AD82A-C8F2-0F43-8E48-32DEF045C05D}" type="pres">
      <dgm:prSet presAssocID="{AADC749F-403E-4446-85BD-E2CC0FE53C9A}" presName="rect3" presStyleLbl="alignAcc1" presStyleIdx="2" presStyleCnt="3" custScaleX="100000" custScaleY="112398"/>
      <dgm:spPr/>
      <dgm:t>
        <a:bodyPr/>
        <a:lstStyle/>
        <a:p>
          <a:endParaRPr lang="en-US"/>
        </a:p>
      </dgm:t>
    </dgm:pt>
    <dgm:pt modelId="{33F1143D-D5F7-CF44-B42D-90B1C95DC730}" type="pres">
      <dgm:prSet presAssocID="{0AC4F3B0-B757-6E43-843C-770739995FC2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932E85-D96A-2643-A3E2-A224C6357A9B}" type="pres">
      <dgm:prSet presAssocID="{0AC4F3B0-B757-6E43-843C-770739995FC2}" presName="rect1ChTx" presStyleLbl="alignAcc1" presStyleIdx="2" presStyleCnt="3" custScaleX="1128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293385-356B-9546-BBAA-773D9D70F35C}" type="pres">
      <dgm:prSet presAssocID="{77B847B6-FD69-F541-AA83-66CE48C9D29B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96B1EE-5FF1-1E4D-BCA4-AFACA6BDB4CD}" type="pres">
      <dgm:prSet presAssocID="{77B847B6-FD69-F541-AA83-66CE48C9D29B}" presName="rect2ChTx" presStyleLbl="alignAcc1" presStyleIdx="2" presStyleCnt="3" custScaleX="113381" custLinFactNeighborX="-562" custLinFactNeighborY="-28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B3030-A485-E84E-886D-7D73CE39FC15}" type="pres">
      <dgm:prSet presAssocID="{AADC749F-403E-4446-85BD-E2CC0FE53C9A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94B3F2-DDA0-CF47-9CB5-E42950A451A1}" type="pres">
      <dgm:prSet presAssocID="{AADC749F-403E-4446-85BD-E2CC0FE53C9A}" presName="rect3ChTx" presStyleLbl="alignAcc1" presStyleIdx="2" presStyleCnt="3" custScaleX="112801" custLinFactNeighborX="-852" custLinFactNeighborY="-1108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3E41812-4F7C-2A42-A040-108A0D9F55FE}" srcId="{77B847B6-FD69-F541-AA83-66CE48C9D29B}" destId="{E1A85230-7DE0-2843-B7D8-EFE010F4A3D5}" srcOrd="0" destOrd="0" parTransId="{A04BFF56-A6C6-5E4E-ABE6-DA9D4CEEC6DF}" sibTransId="{EBE4A919-C2AB-0949-9CCA-FBBDE022FADB}"/>
    <dgm:cxn modelId="{165F1488-5232-F44F-ACBD-2DBFAD6A5A6C}" srcId="{AADC749F-403E-4446-85BD-E2CC0FE53C9A}" destId="{136B1BF3-82ED-C148-8E57-865D431094BD}" srcOrd="3" destOrd="0" parTransId="{6BEF99E4-A208-D542-99B4-65FD685ADC2B}" sibTransId="{54D2631C-5320-4E40-8324-33443552FAFA}"/>
    <dgm:cxn modelId="{F5BF3A30-6D91-8E47-A0D5-31BA21F2D43D}" type="presOf" srcId="{77B847B6-FD69-F541-AA83-66CE48C9D29B}" destId="{EE0CBB45-F7B7-4748-905B-A7C070B29A65}" srcOrd="0" destOrd="0" presId="urn:microsoft.com/office/officeart/2005/8/layout/target3"/>
    <dgm:cxn modelId="{CFBD0C78-3870-0B43-95A6-5D4BD1734062}" srcId="{9F2A61DC-F647-A646-8244-98608CCE42D5}" destId="{AADC749F-403E-4446-85BD-E2CC0FE53C9A}" srcOrd="2" destOrd="0" parTransId="{42C7E1BE-3FEB-784D-9308-BF0C82E231A9}" sibTransId="{E16E0C5D-F05E-8849-8574-EDED0992FA10}"/>
    <dgm:cxn modelId="{57A2FCB9-2CCE-C447-9C99-20D9351C2265}" type="presOf" srcId="{ACD44569-3C2F-0144-BE25-56D101517078}" destId="{AC96B1EE-5FF1-1E4D-BCA4-AFACA6BDB4CD}" srcOrd="0" destOrd="1" presId="urn:microsoft.com/office/officeart/2005/8/layout/target3"/>
    <dgm:cxn modelId="{E3F6B9E9-4AB7-9A45-BBC5-326219D0DE6E}" srcId="{AADC749F-403E-4446-85BD-E2CC0FE53C9A}" destId="{791CBFC3-0D3B-0D4F-AD6A-C0F1FBBC51A4}" srcOrd="1" destOrd="0" parTransId="{C956413A-A215-F84F-B4E9-79D2E83AD400}" sibTransId="{92DEC0A2-7524-5C43-A678-3B93A94B2EB4}"/>
    <dgm:cxn modelId="{E2B2F99D-60D2-1D48-8A23-82B29E5A9274}" srcId="{9F2A61DC-F647-A646-8244-98608CCE42D5}" destId="{77B847B6-FD69-F541-AA83-66CE48C9D29B}" srcOrd="1" destOrd="0" parTransId="{FD5B18CB-7E0F-A340-90AD-4F58D8AF6D26}" sibTransId="{8F0D28EF-8010-0A45-B3D0-090C02173FBA}"/>
    <dgm:cxn modelId="{C94E3646-DC1E-8844-825C-1A4E8D9F113D}" srcId="{0AC4F3B0-B757-6E43-843C-770739995FC2}" destId="{8310B895-0A23-9A45-A5FE-993835CFFA16}" srcOrd="0" destOrd="0" parTransId="{CFB15E8C-F474-0E4A-A5D3-75CD0EB37ED7}" sibTransId="{B0FF2D96-8390-254F-AFAF-B7D5DA044AA5}"/>
    <dgm:cxn modelId="{E0D75B02-6E5C-434C-B6DD-0AD466954BD5}" type="presOf" srcId="{E14991A0-26B9-6C4E-B218-41F919361B68}" destId="{10932E85-D96A-2643-A3E2-A224C6357A9B}" srcOrd="0" destOrd="2" presId="urn:microsoft.com/office/officeart/2005/8/layout/target3"/>
    <dgm:cxn modelId="{FA1E7EF3-B959-3742-898C-8FEB88C3E688}" srcId="{AADC749F-403E-4446-85BD-E2CC0FE53C9A}" destId="{5B3B912A-9C0D-FD4D-977C-5A57F2F70F05}" srcOrd="4" destOrd="0" parTransId="{8900F5BE-D23C-A345-A80B-550A4329861F}" sibTransId="{0547407F-6A83-5A4D-ADE7-0003FE8F04F1}"/>
    <dgm:cxn modelId="{B89B5A3F-CEEA-644B-B4F7-FEC81EA9085B}" type="presOf" srcId="{CDE9B30A-AB03-1F48-B582-94B54D7E092F}" destId="{5A94B3F2-DDA0-CF47-9CB5-E42950A451A1}" srcOrd="0" destOrd="2" presId="urn:microsoft.com/office/officeart/2005/8/layout/target3"/>
    <dgm:cxn modelId="{E6E9B58B-F263-8048-A79E-DB9E97688B54}" type="presOf" srcId="{0AC4F3B0-B757-6E43-843C-770739995FC2}" destId="{33F1143D-D5F7-CF44-B42D-90B1C95DC730}" srcOrd="1" destOrd="0" presId="urn:microsoft.com/office/officeart/2005/8/layout/target3"/>
    <dgm:cxn modelId="{27C455C4-830C-9745-A5CB-E55D35B04F79}" type="presOf" srcId="{77B847B6-FD69-F541-AA83-66CE48C9D29B}" destId="{5E293385-356B-9546-BBAA-773D9D70F35C}" srcOrd="1" destOrd="0" presId="urn:microsoft.com/office/officeart/2005/8/layout/target3"/>
    <dgm:cxn modelId="{1ABF81D3-B1FA-1449-95B5-EA706D11112A}" type="presOf" srcId="{AADC749F-403E-4446-85BD-E2CC0FE53C9A}" destId="{B32B3030-A485-E84E-886D-7D73CE39FC15}" srcOrd="1" destOrd="0" presId="urn:microsoft.com/office/officeart/2005/8/layout/target3"/>
    <dgm:cxn modelId="{1B6AE321-5664-7241-95C2-E2F5B72EBCC0}" srcId="{AADC749F-403E-4446-85BD-E2CC0FE53C9A}" destId="{60A3F115-361E-CC40-8CE6-29927FA67505}" srcOrd="0" destOrd="0" parTransId="{8F54A125-0BC5-C54C-BA03-F9789A5DBB5A}" sibTransId="{17B9795C-B615-FA49-98F7-9EFA708BB4DD}"/>
    <dgm:cxn modelId="{18437B2B-2A53-D948-979E-25EFB1062236}" type="presOf" srcId="{3D0F9176-9E4B-6144-A70A-A5D6BC0CAB75}" destId="{5A94B3F2-DDA0-CF47-9CB5-E42950A451A1}" srcOrd="0" destOrd="5" presId="urn:microsoft.com/office/officeart/2005/8/layout/target3"/>
    <dgm:cxn modelId="{A3457763-D920-B447-958C-330B209DBA6F}" type="presOf" srcId="{791CBFC3-0D3B-0D4F-AD6A-C0F1FBBC51A4}" destId="{5A94B3F2-DDA0-CF47-9CB5-E42950A451A1}" srcOrd="0" destOrd="1" presId="urn:microsoft.com/office/officeart/2005/8/layout/target3"/>
    <dgm:cxn modelId="{DD6C3DB2-AEF1-FB4A-8D9A-31671498F913}" srcId="{AADC749F-403E-4446-85BD-E2CC0FE53C9A}" destId="{CDE9B30A-AB03-1F48-B582-94B54D7E092F}" srcOrd="2" destOrd="0" parTransId="{EE8A1D81-8572-A04F-8F52-F23747893867}" sibTransId="{23F0ED5F-BA4A-CC4D-8773-6B026169822E}"/>
    <dgm:cxn modelId="{5204DFA6-7EFC-274D-8AAE-BC3F29B58E92}" srcId="{77B847B6-FD69-F541-AA83-66CE48C9D29B}" destId="{4AB3FB99-79B2-1149-891F-FF8CB30F30EB}" srcOrd="2" destOrd="0" parTransId="{7BB578DE-BBD5-F94C-9D27-618E3792BC7A}" sibTransId="{9A84A7F5-53C6-384A-A5C7-29A93170A494}"/>
    <dgm:cxn modelId="{9F04094B-7702-6D48-8F2C-FDD96C42976D}" srcId="{AADC749F-403E-4446-85BD-E2CC0FE53C9A}" destId="{3D0F9176-9E4B-6144-A70A-A5D6BC0CAB75}" srcOrd="5" destOrd="0" parTransId="{CA6F9627-690E-2446-AA69-B4D6E247F10F}" sibTransId="{9CAB5551-C57C-D24E-87A2-C39A5F027274}"/>
    <dgm:cxn modelId="{9A6F2883-7B2D-574D-80F2-44F161666CBB}" srcId="{77B847B6-FD69-F541-AA83-66CE48C9D29B}" destId="{ACD44569-3C2F-0144-BE25-56D101517078}" srcOrd="1" destOrd="0" parTransId="{25463254-74A7-F440-B009-6978167ACEEA}" sibTransId="{73B8F0D1-CC42-6D46-85D4-CEDE8213AB16}"/>
    <dgm:cxn modelId="{83EBB739-9ABF-0448-8C35-7F91AB40FB5F}" type="presOf" srcId="{9F2A61DC-F647-A646-8244-98608CCE42D5}" destId="{E701C720-F3BB-8043-9381-2CEDAEBB5C67}" srcOrd="0" destOrd="0" presId="urn:microsoft.com/office/officeart/2005/8/layout/target3"/>
    <dgm:cxn modelId="{6F57D679-9AC9-D74B-9676-DB636E31E653}" type="presOf" srcId="{8310B895-0A23-9A45-A5FE-993835CFFA16}" destId="{10932E85-D96A-2643-A3E2-A224C6357A9B}" srcOrd="0" destOrd="0" presId="urn:microsoft.com/office/officeart/2005/8/layout/target3"/>
    <dgm:cxn modelId="{F1249973-0BFA-7745-BFCF-EDC535E8F4B7}" srcId="{0AC4F3B0-B757-6E43-843C-770739995FC2}" destId="{19D6996A-9A5B-1C44-9891-B58F5C209F7D}" srcOrd="1" destOrd="0" parTransId="{C1ACE338-E7B0-1041-A8F2-DF13FDF41F38}" sibTransId="{F0A68853-4B87-2640-89CF-1F0FB4271B38}"/>
    <dgm:cxn modelId="{352B3B3B-DEC9-5F44-9967-A988965A41B1}" type="presOf" srcId="{5B3B912A-9C0D-FD4D-977C-5A57F2F70F05}" destId="{5A94B3F2-DDA0-CF47-9CB5-E42950A451A1}" srcOrd="0" destOrd="4" presId="urn:microsoft.com/office/officeart/2005/8/layout/target3"/>
    <dgm:cxn modelId="{8FF79CD2-E356-BB42-A0E9-CE2061BFA323}" type="presOf" srcId="{E1A85230-7DE0-2843-B7D8-EFE010F4A3D5}" destId="{AC96B1EE-5FF1-1E4D-BCA4-AFACA6BDB4CD}" srcOrd="0" destOrd="0" presId="urn:microsoft.com/office/officeart/2005/8/layout/target3"/>
    <dgm:cxn modelId="{E60AC976-75E1-C040-8832-4EC451F8B114}" type="presOf" srcId="{AADC749F-403E-4446-85BD-E2CC0FE53C9A}" destId="{B36AD82A-C8F2-0F43-8E48-32DEF045C05D}" srcOrd="0" destOrd="0" presId="urn:microsoft.com/office/officeart/2005/8/layout/target3"/>
    <dgm:cxn modelId="{6B55CB7E-2013-134B-B3A7-B141E01E9D4C}" type="presOf" srcId="{0AC4F3B0-B757-6E43-843C-770739995FC2}" destId="{41A8A450-3A67-1641-B699-20902B4A23DF}" srcOrd="0" destOrd="0" presId="urn:microsoft.com/office/officeart/2005/8/layout/target3"/>
    <dgm:cxn modelId="{A1A10ED4-6D41-CC42-A1AB-3F550BFCE76F}" type="presOf" srcId="{19D6996A-9A5B-1C44-9891-B58F5C209F7D}" destId="{10932E85-D96A-2643-A3E2-A224C6357A9B}" srcOrd="0" destOrd="1" presId="urn:microsoft.com/office/officeart/2005/8/layout/target3"/>
    <dgm:cxn modelId="{E3BA2E76-FE83-2F46-885D-4F6618809294}" type="presOf" srcId="{60A3F115-361E-CC40-8CE6-29927FA67505}" destId="{5A94B3F2-DDA0-CF47-9CB5-E42950A451A1}" srcOrd="0" destOrd="0" presId="urn:microsoft.com/office/officeart/2005/8/layout/target3"/>
    <dgm:cxn modelId="{7E6FCC32-6ECE-274C-81A4-67CD93C052FC}" srcId="{9F2A61DC-F647-A646-8244-98608CCE42D5}" destId="{0AC4F3B0-B757-6E43-843C-770739995FC2}" srcOrd="0" destOrd="0" parTransId="{D78E0928-63CB-094C-8CA3-D502BD1712A9}" sibTransId="{F3F6533E-1C57-A64C-BE8E-56E38AEE903A}"/>
    <dgm:cxn modelId="{2D7B7FD9-1DEB-AD4B-9CD8-30A2C796C5DB}" type="presOf" srcId="{136B1BF3-82ED-C148-8E57-865D431094BD}" destId="{5A94B3F2-DDA0-CF47-9CB5-E42950A451A1}" srcOrd="0" destOrd="3" presId="urn:microsoft.com/office/officeart/2005/8/layout/target3"/>
    <dgm:cxn modelId="{90EFED78-ECB7-9B45-9C06-0DE78E736595}" type="presOf" srcId="{4AB3FB99-79B2-1149-891F-FF8CB30F30EB}" destId="{AC96B1EE-5FF1-1E4D-BCA4-AFACA6BDB4CD}" srcOrd="0" destOrd="2" presId="urn:microsoft.com/office/officeart/2005/8/layout/target3"/>
    <dgm:cxn modelId="{F487EA11-109E-1A41-9FF9-83C3A6EAD649}" srcId="{0AC4F3B0-B757-6E43-843C-770739995FC2}" destId="{E14991A0-26B9-6C4E-B218-41F919361B68}" srcOrd="2" destOrd="0" parTransId="{A6D110EA-B330-9744-990A-B09C057D59D8}" sibTransId="{6D1531AA-79A4-6041-91D5-E0297C3569DA}"/>
    <dgm:cxn modelId="{2DA24DD9-3D82-A748-8CAD-F0D37698F441}" type="presParOf" srcId="{E701C720-F3BB-8043-9381-2CEDAEBB5C67}" destId="{C5164253-072A-614F-903A-8D0150F8E534}" srcOrd="0" destOrd="0" presId="urn:microsoft.com/office/officeart/2005/8/layout/target3"/>
    <dgm:cxn modelId="{529E2E21-5077-C640-963F-8F6FD5E9E34C}" type="presParOf" srcId="{E701C720-F3BB-8043-9381-2CEDAEBB5C67}" destId="{CC75BB4E-6C2E-104D-BEA4-59A8F58A61DC}" srcOrd="1" destOrd="0" presId="urn:microsoft.com/office/officeart/2005/8/layout/target3"/>
    <dgm:cxn modelId="{D3C5FC28-59FB-D441-A97A-EB9F9AA493A7}" type="presParOf" srcId="{E701C720-F3BB-8043-9381-2CEDAEBB5C67}" destId="{41A8A450-3A67-1641-B699-20902B4A23DF}" srcOrd="2" destOrd="0" presId="urn:microsoft.com/office/officeart/2005/8/layout/target3"/>
    <dgm:cxn modelId="{622EAD16-09EC-6241-BE4B-917702285501}" type="presParOf" srcId="{E701C720-F3BB-8043-9381-2CEDAEBB5C67}" destId="{32BB585C-B0C0-F946-B628-0C4B145896D2}" srcOrd="3" destOrd="0" presId="urn:microsoft.com/office/officeart/2005/8/layout/target3"/>
    <dgm:cxn modelId="{F09CC3FE-BC4E-C943-AD5D-8D65C87719EF}" type="presParOf" srcId="{E701C720-F3BB-8043-9381-2CEDAEBB5C67}" destId="{869D9061-673A-9142-9313-F0D8E79E6A61}" srcOrd="4" destOrd="0" presId="urn:microsoft.com/office/officeart/2005/8/layout/target3"/>
    <dgm:cxn modelId="{388A284A-B088-4542-A9DF-388F3E94B26F}" type="presParOf" srcId="{E701C720-F3BB-8043-9381-2CEDAEBB5C67}" destId="{EE0CBB45-F7B7-4748-905B-A7C070B29A65}" srcOrd="5" destOrd="0" presId="urn:microsoft.com/office/officeart/2005/8/layout/target3"/>
    <dgm:cxn modelId="{026955D6-43E8-2749-B34E-39DF2E578682}" type="presParOf" srcId="{E701C720-F3BB-8043-9381-2CEDAEBB5C67}" destId="{83E98EDE-FC8E-2A4D-9D2A-B22D8E6358DE}" srcOrd="6" destOrd="0" presId="urn:microsoft.com/office/officeart/2005/8/layout/target3"/>
    <dgm:cxn modelId="{6A8CA36F-3155-1A48-B9C0-7CD64C6773BC}" type="presParOf" srcId="{E701C720-F3BB-8043-9381-2CEDAEBB5C67}" destId="{C77E8184-22AA-BF48-9F4F-9F90431F0C2E}" srcOrd="7" destOrd="0" presId="urn:microsoft.com/office/officeart/2005/8/layout/target3"/>
    <dgm:cxn modelId="{5571EBEF-C343-5A4C-A143-7C0B3C3575BA}" type="presParOf" srcId="{E701C720-F3BB-8043-9381-2CEDAEBB5C67}" destId="{B36AD82A-C8F2-0F43-8E48-32DEF045C05D}" srcOrd="8" destOrd="0" presId="urn:microsoft.com/office/officeart/2005/8/layout/target3"/>
    <dgm:cxn modelId="{978C1588-BA26-DF4A-A6C9-79F3249FF5F3}" type="presParOf" srcId="{E701C720-F3BB-8043-9381-2CEDAEBB5C67}" destId="{33F1143D-D5F7-CF44-B42D-90B1C95DC730}" srcOrd="9" destOrd="0" presId="urn:microsoft.com/office/officeart/2005/8/layout/target3"/>
    <dgm:cxn modelId="{303EC7D8-B4AC-6543-9EE7-5D3E804BD7B8}" type="presParOf" srcId="{E701C720-F3BB-8043-9381-2CEDAEBB5C67}" destId="{10932E85-D96A-2643-A3E2-A224C6357A9B}" srcOrd="10" destOrd="0" presId="urn:microsoft.com/office/officeart/2005/8/layout/target3"/>
    <dgm:cxn modelId="{4D59E796-696B-6540-B6F9-259A2FB826E3}" type="presParOf" srcId="{E701C720-F3BB-8043-9381-2CEDAEBB5C67}" destId="{5E293385-356B-9546-BBAA-773D9D70F35C}" srcOrd="11" destOrd="0" presId="urn:microsoft.com/office/officeart/2005/8/layout/target3"/>
    <dgm:cxn modelId="{0AFD2B6A-26FA-A149-AF06-8FF1858CE54E}" type="presParOf" srcId="{E701C720-F3BB-8043-9381-2CEDAEBB5C67}" destId="{AC96B1EE-5FF1-1E4D-BCA4-AFACA6BDB4CD}" srcOrd="12" destOrd="0" presId="urn:microsoft.com/office/officeart/2005/8/layout/target3"/>
    <dgm:cxn modelId="{6A41AC52-97B6-9144-BB0A-C757BFAD1457}" type="presParOf" srcId="{E701C720-F3BB-8043-9381-2CEDAEBB5C67}" destId="{B32B3030-A485-E84E-886D-7D73CE39FC15}" srcOrd="13" destOrd="0" presId="urn:microsoft.com/office/officeart/2005/8/layout/target3"/>
    <dgm:cxn modelId="{6B390630-C3D4-5346-9EB1-B9E70A667AEA}" type="presParOf" srcId="{E701C720-F3BB-8043-9381-2CEDAEBB5C67}" destId="{5A94B3F2-DDA0-CF47-9CB5-E42950A451A1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F2A61DC-F647-A646-8244-98608CCE42D5}" type="doc">
      <dgm:prSet loTypeId="urn:microsoft.com/office/officeart/2005/8/layout/target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AC4F3B0-B757-6E43-843C-770739995FC2}">
      <dgm:prSet phldrT="[Text]" custT="1"/>
      <dgm:spPr/>
      <dgm:t>
        <a:bodyPr/>
        <a:lstStyle/>
        <a:p>
          <a:r>
            <a:rPr lang="en-US" sz="1200" dirty="0" smtClean="0"/>
            <a:t>Topic</a:t>
          </a:r>
          <a:r>
            <a:rPr lang="en-US" sz="1200" baseline="0" dirty="0" smtClean="0"/>
            <a:t> description</a:t>
          </a:r>
          <a:endParaRPr lang="en-US" sz="1200" dirty="0"/>
        </a:p>
      </dgm:t>
    </dgm:pt>
    <dgm:pt modelId="{D78E0928-63CB-094C-8CA3-D502BD1712A9}" type="parTrans" cxnId="{7E6FCC32-6ECE-274C-81A4-67CD93C052FC}">
      <dgm:prSet/>
      <dgm:spPr/>
      <dgm:t>
        <a:bodyPr/>
        <a:lstStyle/>
        <a:p>
          <a:endParaRPr lang="en-US"/>
        </a:p>
      </dgm:t>
    </dgm:pt>
    <dgm:pt modelId="{F3F6533E-1C57-A64C-BE8E-56E38AEE903A}" type="sibTrans" cxnId="{7E6FCC32-6ECE-274C-81A4-67CD93C052FC}">
      <dgm:prSet/>
      <dgm:spPr/>
      <dgm:t>
        <a:bodyPr/>
        <a:lstStyle/>
        <a:p>
          <a:endParaRPr lang="en-US"/>
        </a:p>
      </dgm:t>
    </dgm:pt>
    <dgm:pt modelId="{8310B895-0A23-9A45-A5FE-993835CFFA16}">
      <dgm:prSet phldrT="[Text]" custT="1"/>
      <dgm:spPr/>
      <dgm:t>
        <a:bodyPr/>
        <a:lstStyle/>
        <a:p>
          <a:r>
            <a:rPr lang="en-US" sz="800" b="1" baseline="0" dirty="0" smtClean="0"/>
            <a:t>Application Performance Management (APM) products are very popular for management of modern web and mobile application </a:t>
          </a:r>
        </a:p>
      </dgm:t>
    </dgm:pt>
    <dgm:pt modelId="{CFB15E8C-F474-0E4A-A5D3-75CD0EB37ED7}" type="parTrans" cxnId="{C94E3646-DC1E-8844-825C-1A4E8D9F113D}">
      <dgm:prSet/>
      <dgm:spPr/>
      <dgm:t>
        <a:bodyPr/>
        <a:lstStyle/>
        <a:p>
          <a:endParaRPr lang="en-US"/>
        </a:p>
      </dgm:t>
    </dgm:pt>
    <dgm:pt modelId="{B0FF2D96-8390-254F-AFAF-B7D5DA044AA5}" type="sibTrans" cxnId="{C94E3646-DC1E-8844-825C-1A4E8D9F113D}">
      <dgm:prSet/>
      <dgm:spPr/>
      <dgm:t>
        <a:bodyPr/>
        <a:lstStyle/>
        <a:p>
          <a:endParaRPr lang="en-US"/>
        </a:p>
      </dgm:t>
    </dgm:pt>
    <dgm:pt modelId="{E14991A0-26B9-6C4E-B218-41F919361B68}">
      <dgm:prSet phldrT="[Text]" custT="1"/>
      <dgm:spPr/>
      <dgm:t>
        <a:bodyPr/>
        <a:lstStyle/>
        <a:p>
          <a:r>
            <a:rPr lang="en-US" sz="800" b="1" baseline="0" dirty="0" smtClean="0"/>
            <a:t>Monitors the applications from a business transaction perspective and with strong capabilities for root-cause analysis. </a:t>
          </a:r>
          <a:endParaRPr lang="en-US" sz="800" b="1" dirty="0"/>
        </a:p>
      </dgm:t>
    </dgm:pt>
    <dgm:pt modelId="{A6D110EA-B330-9744-990A-B09C057D59D8}" type="parTrans" cxnId="{F487EA11-109E-1A41-9FF9-83C3A6EAD649}">
      <dgm:prSet/>
      <dgm:spPr/>
      <dgm:t>
        <a:bodyPr/>
        <a:lstStyle/>
        <a:p>
          <a:endParaRPr lang="en-US"/>
        </a:p>
      </dgm:t>
    </dgm:pt>
    <dgm:pt modelId="{6D1531AA-79A4-6041-91D5-E0297C3569DA}" type="sibTrans" cxnId="{F487EA11-109E-1A41-9FF9-83C3A6EAD649}">
      <dgm:prSet/>
      <dgm:spPr/>
      <dgm:t>
        <a:bodyPr/>
        <a:lstStyle/>
        <a:p>
          <a:endParaRPr lang="en-US"/>
        </a:p>
      </dgm:t>
    </dgm:pt>
    <dgm:pt modelId="{77B847B6-FD69-F541-AA83-66CE48C9D29B}">
      <dgm:prSet phldrT="[Text]" custT="1"/>
      <dgm:spPr/>
      <dgm:t>
        <a:bodyPr/>
        <a:lstStyle/>
        <a:p>
          <a:r>
            <a:rPr lang="en-US" sz="1200" dirty="0" smtClean="0"/>
            <a:t>The</a:t>
          </a:r>
          <a:r>
            <a:rPr lang="en-US" sz="1200" baseline="0" dirty="0" smtClean="0"/>
            <a:t> APM problem area</a:t>
          </a:r>
          <a:endParaRPr lang="en-US" sz="1200" dirty="0"/>
        </a:p>
      </dgm:t>
    </dgm:pt>
    <dgm:pt modelId="{FD5B18CB-7E0F-A340-90AD-4F58D8AF6D26}" type="parTrans" cxnId="{E2B2F99D-60D2-1D48-8A23-82B29E5A9274}">
      <dgm:prSet/>
      <dgm:spPr/>
      <dgm:t>
        <a:bodyPr/>
        <a:lstStyle/>
        <a:p>
          <a:endParaRPr lang="en-US"/>
        </a:p>
      </dgm:t>
    </dgm:pt>
    <dgm:pt modelId="{8F0D28EF-8010-0A45-B3D0-090C02173FBA}" type="sibTrans" cxnId="{E2B2F99D-60D2-1D48-8A23-82B29E5A9274}">
      <dgm:prSet/>
      <dgm:spPr/>
      <dgm:t>
        <a:bodyPr/>
        <a:lstStyle/>
        <a:p>
          <a:endParaRPr lang="en-US"/>
        </a:p>
      </dgm:t>
    </dgm:pt>
    <dgm:pt modelId="{0D40FA0E-076E-1E4C-9343-C40DBB1E5CC6}">
      <dgm:prSet phldrT="[Text]"/>
      <dgm:spPr/>
      <dgm:t>
        <a:bodyPr/>
        <a:lstStyle/>
        <a:p>
          <a:pPr marL="57150" marR="0" lvl="1" indent="-57150" algn="l" defTabSz="3556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endParaRPr lang="en-US" sz="800" dirty="0"/>
        </a:p>
      </dgm:t>
    </dgm:pt>
    <dgm:pt modelId="{0E424A64-2A65-8E43-B7BD-2BFA4B4C83D8}" type="parTrans" cxnId="{F3CDA932-FADE-BB46-A698-B7BB75D7E736}">
      <dgm:prSet/>
      <dgm:spPr/>
      <dgm:t>
        <a:bodyPr/>
        <a:lstStyle/>
        <a:p>
          <a:endParaRPr lang="en-US"/>
        </a:p>
      </dgm:t>
    </dgm:pt>
    <dgm:pt modelId="{3B3BBACD-796B-824B-B722-A05C2D9295A6}" type="sibTrans" cxnId="{F3CDA932-FADE-BB46-A698-B7BB75D7E736}">
      <dgm:prSet/>
      <dgm:spPr/>
      <dgm:t>
        <a:bodyPr/>
        <a:lstStyle/>
        <a:p>
          <a:endParaRPr lang="en-US"/>
        </a:p>
      </dgm:t>
    </dgm:pt>
    <dgm:pt modelId="{4AB3FB99-79B2-1149-891F-FF8CB30F30EB}">
      <dgm:prSet phldrT="[Text]"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baseline="0" dirty="0" smtClean="0"/>
            <a:t>The challenge is the need of an owner and a team which supports the stakeholder who will benefit from the value of the APM solution.</a:t>
          </a:r>
        </a:p>
      </dgm:t>
    </dgm:pt>
    <dgm:pt modelId="{7BB578DE-BBD5-F94C-9D27-618E3792BC7A}" type="parTrans" cxnId="{5204DFA6-7EFC-274D-8AAE-BC3F29B58E92}">
      <dgm:prSet/>
      <dgm:spPr/>
      <dgm:t>
        <a:bodyPr/>
        <a:lstStyle/>
        <a:p>
          <a:endParaRPr lang="en-US"/>
        </a:p>
      </dgm:t>
    </dgm:pt>
    <dgm:pt modelId="{9A84A7F5-53C6-384A-A5C7-29A93170A494}" type="sibTrans" cxnId="{5204DFA6-7EFC-274D-8AAE-BC3F29B58E92}">
      <dgm:prSet/>
      <dgm:spPr/>
      <dgm:t>
        <a:bodyPr/>
        <a:lstStyle/>
        <a:p>
          <a:endParaRPr lang="en-US"/>
        </a:p>
      </dgm:t>
    </dgm:pt>
    <dgm:pt modelId="{AADC749F-403E-4446-85BD-E2CC0FE53C9A}">
      <dgm:prSet phldrT="[Text]" custT="1"/>
      <dgm:spPr/>
      <dgm:t>
        <a:bodyPr/>
        <a:lstStyle/>
        <a:p>
          <a:r>
            <a:rPr lang="en-US" sz="1200" dirty="0" smtClean="0"/>
            <a:t>Service</a:t>
          </a:r>
          <a:r>
            <a:rPr lang="en-US" sz="1200" baseline="0" dirty="0" smtClean="0"/>
            <a:t> offering</a:t>
          </a:r>
          <a:endParaRPr lang="en-US" sz="1200" dirty="0"/>
        </a:p>
      </dgm:t>
    </dgm:pt>
    <dgm:pt modelId="{42C7E1BE-3FEB-784D-9308-BF0C82E231A9}" type="parTrans" cxnId="{CFBD0C78-3870-0B43-95A6-5D4BD1734062}">
      <dgm:prSet/>
      <dgm:spPr/>
      <dgm:t>
        <a:bodyPr/>
        <a:lstStyle/>
        <a:p>
          <a:endParaRPr lang="en-US"/>
        </a:p>
      </dgm:t>
    </dgm:pt>
    <dgm:pt modelId="{E16E0C5D-F05E-8849-8574-EDED0992FA10}" type="sibTrans" cxnId="{CFBD0C78-3870-0B43-95A6-5D4BD1734062}">
      <dgm:prSet/>
      <dgm:spPr/>
      <dgm:t>
        <a:bodyPr/>
        <a:lstStyle/>
        <a:p>
          <a:endParaRPr lang="en-US"/>
        </a:p>
      </dgm:t>
    </dgm:pt>
    <dgm:pt modelId="{791CBFC3-0D3B-0D4F-AD6A-C0F1FBBC51A4}">
      <dgm:prSet phldrT="[Text]" custT="1"/>
      <dgm:spPr/>
      <dgm:t>
        <a:bodyPr/>
        <a:lstStyle/>
        <a:p>
          <a:r>
            <a:rPr lang="en-US" sz="800" b="1" baseline="0" dirty="0" smtClean="0"/>
            <a:t>Optimize the value of the APM investment with a Managed Services approach for APM.</a:t>
          </a:r>
        </a:p>
      </dgm:t>
    </dgm:pt>
    <dgm:pt modelId="{C956413A-A215-F84F-B4E9-79D2E83AD400}" type="parTrans" cxnId="{E3F6B9E9-4AB7-9A45-BBC5-326219D0DE6E}">
      <dgm:prSet/>
      <dgm:spPr/>
      <dgm:t>
        <a:bodyPr/>
        <a:lstStyle/>
        <a:p>
          <a:endParaRPr lang="en-US"/>
        </a:p>
      </dgm:t>
    </dgm:pt>
    <dgm:pt modelId="{92DEC0A2-7524-5C43-A678-3B93A94B2EB4}" type="sibTrans" cxnId="{E3F6B9E9-4AB7-9A45-BBC5-326219D0DE6E}">
      <dgm:prSet/>
      <dgm:spPr/>
      <dgm:t>
        <a:bodyPr/>
        <a:lstStyle/>
        <a:p>
          <a:endParaRPr lang="en-US"/>
        </a:p>
      </dgm:t>
    </dgm:pt>
    <dgm:pt modelId="{136B1BF3-82ED-C148-8E57-865D431094BD}">
      <dgm:prSet phldrT="[Text]" custT="1"/>
      <dgm:spPr/>
      <dgm:t>
        <a:bodyPr/>
        <a:lstStyle/>
        <a:p>
          <a:r>
            <a:rPr lang="en-US" sz="800" b="1" baseline="0" dirty="0" smtClean="0"/>
            <a:t>We operate and further develops the APM solution and its value including on-going operations, deployment, report creation, alert management, dashboard creation etcetera.</a:t>
          </a:r>
        </a:p>
      </dgm:t>
    </dgm:pt>
    <dgm:pt modelId="{6BEF99E4-A208-D542-99B4-65FD685ADC2B}" type="parTrans" cxnId="{165F1488-5232-F44F-ACBD-2DBFAD6A5A6C}">
      <dgm:prSet/>
      <dgm:spPr/>
      <dgm:t>
        <a:bodyPr/>
        <a:lstStyle/>
        <a:p>
          <a:endParaRPr lang="en-US"/>
        </a:p>
      </dgm:t>
    </dgm:pt>
    <dgm:pt modelId="{54D2631C-5320-4E40-8324-33443552FAFA}" type="sibTrans" cxnId="{165F1488-5232-F44F-ACBD-2DBFAD6A5A6C}">
      <dgm:prSet/>
      <dgm:spPr/>
      <dgm:t>
        <a:bodyPr/>
        <a:lstStyle/>
        <a:p>
          <a:endParaRPr lang="en-US"/>
        </a:p>
      </dgm:t>
    </dgm:pt>
    <dgm:pt modelId="{D59B0033-3EC5-BD4D-84DF-574560CBA822}">
      <dgm:prSet phldrT="[Text]"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baseline="0" dirty="0" smtClean="0"/>
            <a:t>The main stakeholders are application owners, operations, development and test.</a:t>
          </a:r>
        </a:p>
      </dgm:t>
    </dgm:pt>
    <dgm:pt modelId="{F984BD8B-90F9-F244-8114-8F09F8502973}" type="parTrans" cxnId="{DECE93A8-920A-BE44-AB37-271A3A499810}">
      <dgm:prSet/>
      <dgm:spPr/>
      <dgm:t>
        <a:bodyPr/>
        <a:lstStyle/>
        <a:p>
          <a:endParaRPr lang="en-US"/>
        </a:p>
      </dgm:t>
    </dgm:pt>
    <dgm:pt modelId="{64FED2A1-2DB7-454B-9399-70B7E019A867}" type="sibTrans" cxnId="{DECE93A8-920A-BE44-AB37-271A3A499810}">
      <dgm:prSet/>
      <dgm:spPr/>
      <dgm:t>
        <a:bodyPr/>
        <a:lstStyle/>
        <a:p>
          <a:endParaRPr lang="en-US"/>
        </a:p>
      </dgm:t>
    </dgm:pt>
    <dgm:pt modelId="{E4DE51B6-EE4B-E04F-B2C2-91A529E4E4BB}">
      <dgm:prSet phldrT="[Text]" custT="1"/>
      <dgm:spPr/>
      <dgm:t>
        <a:bodyPr/>
        <a:lstStyle/>
        <a:p>
          <a:endParaRPr lang="en-US" sz="800" b="1" baseline="0" dirty="0" smtClean="0"/>
        </a:p>
      </dgm:t>
    </dgm:pt>
    <dgm:pt modelId="{ECBB4F2F-C051-1943-AC30-F29DA787AA67}" type="parTrans" cxnId="{E5172293-5577-FA4A-A01C-E1C770B7BF21}">
      <dgm:prSet/>
      <dgm:spPr/>
      <dgm:t>
        <a:bodyPr/>
        <a:lstStyle/>
        <a:p>
          <a:endParaRPr lang="en-US"/>
        </a:p>
      </dgm:t>
    </dgm:pt>
    <dgm:pt modelId="{2F449CEA-C374-E246-9516-716D837579F4}" type="sibTrans" cxnId="{E5172293-5577-FA4A-A01C-E1C770B7BF21}">
      <dgm:prSet/>
      <dgm:spPr/>
      <dgm:t>
        <a:bodyPr/>
        <a:lstStyle/>
        <a:p>
          <a:endParaRPr lang="en-US"/>
        </a:p>
      </dgm:t>
    </dgm:pt>
    <dgm:pt modelId="{24DCA0C3-A890-304B-B009-7793E8DFEB8B}">
      <dgm:prSet phldrT="[Text]"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800" b="1" baseline="0" dirty="0" smtClean="0"/>
        </a:p>
      </dgm:t>
    </dgm:pt>
    <dgm:pt modelId="{76071D29-D9A0-BA4D-8489-522F26CD3504}" type="parTrans" cxnId="{ED012551-5809-5140-99E6-59DA12D3D1B0}">
      <dgm:prSet/>
      <dgm:spPr/>
      <dgm:t>
        <a:bodyPr/>
        <a:lstStyle/>
        <a:p>
          <a:endParaRPr lang="en-US"/>
        </a:p>
      </dgm:t>
    </dgm:pt>
    <dgm:pt modelId="{EFE4124A-6790-5F42-9B75-53FEA75577B5}" type="sibTrans" cxnId="{ED012551-5809-5140-99E6-59DA12D3D1B0}">
      <dgm:prSet/>
      <dgm:spPr/>
      <dgm:t>
        <a:bodyPr/>
        <a:lstStyle/>
        <a:p>
          <a:endParaRPr lang="en-US"/>
        </a:p>
      </dgm:t>
    </dgm:pt>
    <dgm:pt modelId="{54D20FCD-FDC2-414D-AA55-886902B54AF8}">
      <dgm:prSet phldrT="[Text]" custT="1"/>
      <dgm:spPr/>
      <dgm:t>
        <a:bodyPr/>
        <a:lstStyle/>
        <a:p>
          <a:endParaRPr lang="en-US" sz="800" b="1" baseline="0" dirty="0" smtClean="0"/>
        </a:p>
      </dgm:t>
    </dgm:pt>
    <dgm:pt modelId="{04A05D81-9CC7-174B-9DC9-437E36D440BD}" type="parTrans" cxnId="{F4038500-A3F4-D647-814F-7BC67814F407}">
      <dgm:prSet/>
      <dgm:spPr/>
      <dgm:t>
        <a:bodyPr/>
        <a:lstStyle/>
        <a:p>
          <a:endParaRPr lang="en-US"/>
        </a:p>
      </dgm:t>
    </dgm:pt>
    <dgm:pt modelId="{3A579E48-DDBF-BF4D-A7A0-12D1D0F2A34C}" type="sibTrans" cxnId="{F4038500-A3F4-D647-814F-7BC67814F407}">
      <dgm:prSet/>
      <dgm:spPr/>
      <dgm:t>
        <a:bodyPr/>
        <a:lstStyle/>
        <a:p>
          <a:endParaRPr lang="en-US"/>
        </a:p>
      </dgm:t>
    </dgm:pt>
    <dgm:pt modelId="{E701C720-F3BB-8043-9381-2CEDAEBB5C67}" type="pres">
      <dgm:prSet presAssocID="{9F2A61DC-F647-A646-8244-98608CCE42D5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5164253-072A-614F-903A-8D0150F8E534}" type="pres">
      <dgm:prSet presAssocID="{0AC4F3B0-B757-6E43-843C-770739995FC2}" presName="circle1" presStyleLbl="node1" presStyleIdx="0" presStyleCnt="3"/>
      <dgm:spPr/>
    </dgm:pt>
    <dgm:pt modelId="{CC75BB4E-6C2E-104D-BEA4-59A8F58A61DC}" type="pres">
      <dgm:prSet presAssocID="{0AC4F3B0-B757-6E43-843C-770739995FC2}" presName="space" presStyleCnt="0"/>
      <dgm:spPr/>
    </dgm:pt>
    <dgm:pt modelId="{41A8A450-3A67-1641-B699-20902B4A23DF}" type="pres">
      <dgm:prSet presAssocID="{0AC4F3B0-B757-6E43-843C-770739995FC2}" presName="rect1" presStyleLbl="alignAcc1" presStyleIdx="0" presStyleCnt="3" custLinFactNeighborX="-16" custLinFactNeighborY="-1201"/>
      <dgm:spPr/>
      <dgm:t>
        <a:bodyPr/>
        <a:lstStyle/>
        <a:p>
          <a:endParaRPr lang="en-US"/>
        </a:p>
      </dgm:t>
    </dgm:pt>
    <dgm:pt modelId="{32BB585C-B0C0-F946-B628-0C4B145896D2}" type="pres">
      <dgm:prSet presAssocID="{77B847B6-FD69-F541-AA83-66CE48C9D29B}" presName="vertSpace2" presStyleLbl="node1" presStyleIdx="0" presStyleCnt="3"/>
      <dgm:spPr/>
    </dgm:pt>
    <dgm:pt modelId="{869D9061-673A-9142-9313-F0D8E79E6A61}" type="pres">
      <dgm:prSet presAssocID="{77B847B6-FD69-F541-AA83-66CE48C9D29B}" presName="circle2" presStyleLbl="node1" presStyleIdx="1" presStyleCnt="3"/>
      <dgm:spPr/>
    </dgm:pt>
    <dgm:pt modelId="{EE0CBB45-F7B7-4748-905B-A7C070B29A65}" type="pres">
      <dgm:prSet presAssocID="{77B847B6-FD69-F541-AA83-66CE48C9D29B}" presName="rect2" presStyleLbl="alignAcc1" presStyleIdx="1" presStyleCnt="3" custScaleY="106778"/>
      <dgm:spPr/>
      <dgm:t>
        <a:bodyPr/>
        <a:lstStyle/>
        <a:p>
          <a:endParaRPr lang="en-US"/>
        </a:p>
      </dgm:t>
    </dgm:pt>
    <dgm:pt modelId="{83E98EDE-FC8E-2A4D-9D2A-B22D8E6358DE}" type="pres">
      <dgm:prSet presAssocID="{AADC749F-403E-4446-85BD-E2CC0FE53C9A}" presName="vertSpace3" presStyleLbl="node1" presStyleIdx="1" presStyleCnt="3"/>
      <dgm:spPr/>
    </dgm:pt>
    <dgm:pt modelId="{C77E8184-22AA-BF48-9F4F-9F90431F0C2E}" type="pres">
      <dgm:prSet presAssocID="{AADC749F-403E-4446-85BD-E2CC0FE53C9A}" presName="circle3" presStyleLbl="node1" presStyleIdx="2" presStyleCnt="3"/>
      <dgm:spPr/>
    </dgm:pt>
    <dgm:pt modelId="{B36AD82A-C8F2-0F43-8E48-32DEF045C05D}" type="pres">
      <dgm:prSet presAssocID="{AADC749F-403E-4446-85BD-E2CC0FE53C9A}" presName="rect3" presStyleLbl="alignAcc1" presStyleIdx="2" presStyleCnt="3" custScaleY="120572" custLinFactNeighborX="156" custLinFactNeighborY="2725"/>
      <dgm:spPr/>
      <dgm:t>
        <a:bodyPr/>
        <a:lstStyle/>
        <a:p>
          <a:endParaRPr lang="en-US"/>
        </a:p>
      </dgm:t>
    </dgm:pt>
    <dgm:pt modelId="{33F1143D-D5F7-CF44-B42D-90B1C95DC730}" type="pres">
      <dgm:prSet presAssocID="{0AC4F3B0-B757-6E43-843C-770739995FC2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932E85-D96A-2643-A3E2-A224C6357A9B}" type="pres">
      <dgm:prSet presAssocID="{0AC4F3B0-B757-6E43-843C-770739995FC2}" presName="rect1ChTx" presStyleLbl="alignAcc1" presStyleIdx="2" presStyleCnt="3" custScaleX="101245" custLinFactNeighborX="-445" custLinFactNeighborY="-5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293385-356B-9546-BBAA-773D9D70F35C}" type="pres">
      <dgm:prSet presAssocID="{77B847B6-FD69-F541-AA83-66CE48C9D29B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96B1EE-5FF1-1E4D-BCA4-AFACA6BDB4CD}" type="pres">
      <dgm:prSet presAssocID="{77B847B6-FD69-F541-AA83-66CE48C9D29B}" presName="rect2ChTx" presStyleLbl="alignAcc1" presStyleIdx="2" presStyleCnt="3" custLinFactNeighborX="1347" custLinFactNeighborY="-910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B3030-A485-E84E-886D-7D73CE39FC15}" type="pres">
      <dgm:prSet presAssocID="{AADC749F-403E-4446-85BD-E2CC0FE53C9A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94B3F2-DDA0-CF47-9CB5-E42950A451A1}" type="pres">
      <dgm:prSet presAssocID="{AADC749F-403E-4446-85BD-E2CC0FE53C9A}" presName="rect3ChTx" presStyleLbl="alignAcc1" presStyleIdx="2" presStyleCnt="3" custScale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DDC5D4B-B90B-7C45-ABBC-FA94C777D0FB}" type="presOf" srcId="{4AB3FB99-79B2-1149-891F-FF8CB30F30EB}" destId="{AC96B1EE-5FF1-1E4D-BCA4-AFACA6BDB4CD}" srcOrd="0" destOrd="1" presId="urn:microsoft.com/office/officeart/2005/8/layout/target3"/>
    <dgm:cxn modelId="{F4038500-A3F4-D647-814F-7BC67814F407}" srcId="{AADC749F-403E-4446-85BD-E2CC0FE53C9A}" destId="{54D20FCD-FDC2-414D-AA55-886902B54AF8}" srcOrd="1" destOrd="0" parTransId="{04A05D81-9CC7-174B-9DC9-437E36D440BD}" sibTransId="{3A579E48-DDBF-BF4D-A7A0-12D1D0F2A34C}"/>
    <dgm:cxn modelId="{B6BF503A-6AF0-1D4A-A047-FC17C0E782EF}" type="presOf" srcId="{E4DE51B6-EE4B-E04F-B2C2-91A529E4E4BB}" destId="{10932E85-D96A-2643-A3E2-A224C6357A9B}" srcOrd="0" destOrd="1" presId="urn:microsoft.com/office/officeart/2005/8/layout/target3"/>
    <dgm:cxn modelId="{165F1488-5232-F44F-ACBD-2DBFAD6A5A6C}" srcId="{AADC749F-403E-4446-85BD-E2CC0FE53C9A}" destId="{136B1BF3-82ED-C148-8E57-865D431094BD}" srcOrd="2" destOrd="0" parTransId="{6BEF99E4-A208-D542-99B4-65FD685ADC2B}" sibTransId="{54D2631C-5320-4E40-8324-33443552FAFA}"/>
    <dgm:cxn modelId="{CFBD0C78-3870-0B43-95A6-5D4BD1734062}" srcId="{9F2A61DC-F647-A646-8244-98608CCE42D5}" destId="{AADC749F-403E-4446-85BD-E2CC0FE53C9A}" srcOrd="2" destOrd="0" parTransId="{42C7E1BE-3FEB-784D-9308-BF0C82E231A9}" sibTransId="{E16E0C5D-F05E-8849-8574-EDED0992FA10}"/>
    <dgm:cxn modelId="{E52A0510-847C-1349-BE01-818585CB4AF5}" type="presOf" srcId="{24DCA0C3-A890-304B-B009-7793E8DFEB8B}" destId="{AC96B1EE-5FF1-1E4D-BCA4-AFACA6BDB4CD}" srcOrd="0" destOrd="2" presId="urn:microsoft.com/office/officeart/2005/8/layout/target3"/>
    <dgm:cxn modelId="{BD72FED9-2422-0048-A111-A0CBF9D4BBFF}" type="presOf" srcId="{E14991A0-26B9-6C4E-B218-41F919361B68}" destId="{10932E85-D96A-2643-A3E2-A224C6357A9B}" srcOrd="0" destOrd="2" presId="urn:microsoft.com/office/officeart/2005/8/layout/target3"/>
    <dgm:cxn modelId="{5CF3CB7C-EB07-5546-BF47-3040400537A3}" type="presOf" srcId="{8310B895-0A23-9A45-A5FE-993835CFFA16}" destId="{10932E85-D96A-2643-A3E2-A224C6357A9B}" srcOrd="0" destOrd="0" presId="urn:microsoft.com/office/officeart/2005/8/layout/target3"/>
    <dgm:cxn modelId="{E3F6B9E9-4AB7-9A45-BBC5-326219D0DE6E}" srcId="{AADC749F-403E-4446-85BD-E2CC0FE53C9A}" destId="{791CBFC3-0D3B-0D4F-AD6A-C0F1FBBC51A4}" srcOrd="0" destOrd="0" parTransId="{C956413A-A215-F84F-B4E9-79D2E83AD400}" sibTransId="{92DEC0A2-7524-5C43-A678-3B93A94B2EB4}"/>
    <dgm:cxn modelId="{E2B2F99D-60D2-1D48-8A23-82B29E5A9274}" srcId="{9F2A61DC-F647-A646-8244-98608CCE42D5}" destId="{77B847B6-FD69-F541-AA83-66CE48C9D29B}" srcOrd="1" destOrd="0" parTransId="{FD5B18CB-7E0F-A340-90AD-4F58D8AF6D26}" sibTransId="{8F0D28EF-8010-0A45-B3D0-090C02173FBA}"/>
    <dgm:cxn modelId="{0C6E753E-A6C2-8641-99BB-B9202C520DCD}" type="presOf" srcId="{77B847B6-FD69-F541-AA83-66CE48C9D29B}" destId="{5E293385-356B-9546-BBAA-773D9D70F35C}" srcOrd="1" destOrd="0" presId="urn:microsoft.com/office/officeart/2005/8/layout/target3"/>
    <dgm:cxn modelId="{C94E3646-DC1E-8844-825C-1A4E8D9F113D}" srcId="{0AC4F3B0-B757-6E43-843C-770739995FC2}" destId="{8310B895-0A23-9A45-A5FE-993835CFFA16}" srcOrd="0" destOrd="0" parTransId="{CFB15E8C-F474-0E4A-A5D3-75CD0EB37ED7}" sibTransId="{B0FF2D96-8390-254F-AFAF-B7D5DA044AA5}"/>
    <dgm:cxn modelId="{ED012551-5809-5140-99E6-59DA12D3D1B0}" srcId="{77B847B6-FD69-F541-AA83-66CE48C9D29B}" destId="{24DCA0C3-A890-304B-B009-7793E8DFEB8B}" srcOrd="2" destOrd="0" parTransId="{76071D29-D9A0-BA4D-8489-522F26CD3504}" sibTransId="{EFE4124A-6790-5F42-9B75-53FEA75577B5}"/>
    <dgm:cxn modelId="{F3CDA932-FADE-BB46-A698-B7BB75D7E736}" srcId="{77B847B6-FD69-F541-AA83-66CE48C9D29B}" destId="{0D40FA0E-076E-1E4C-9343-C40DBB1E5CC6}" srcOrd="0" destOrd="0" parTransId="{0E424A64-2A65-8E43-B7BD-2BFA4B4C83D8}" sibTransId="{3B3BBACD-796B-824B-B722-A05C2D9295A6}"/>
    <dgm:cxn modelId="{D6F05A82-BB84-C346-BF44-4E764B8C2B52}" type="presOf" srcId="{AADC749F-403E-4446-85BD-E2CC0FE53C9A}" destId="{B32B3030-A485-E84E-886D-7D73CE39FC15}" srcOrd="1" destOrd="0" presId="urn:microsoft.com/office/officeart/2005/8/layout/target3"/>
    <dgm:cxn modelId="{DECE93A8-920A-BE44-AB37-271A3A499810}" srcId="{77B847B6-FD69-F541-AA83-66CE48C9D29B}" destId="{D59B0033-3EC5-BD4D-84DF-574560CBA822}" srcOrd="3" destOrd="0" parTransId="{F984BD8B-90F9-F244-8114-8F09F8502973}" sibTransId="{64FED2A1-2DB7-454B-9399-70B7E019A867}"/>
    <dgm:cxn modelId="{2816C68D-84CF-224F-8129-54FD0D4CA5B3}" type="presOf" srcId="{AADC749F-403E-4446-85BD-E2CC0FE53C9A}" destId="{B36AD82A-C8F2-0F43-8E48-32DEF045C05D}" srcOrd="0" destOrd="0" presId="urn:microsoft.com/office/officeart/2005/8/layout/target3"/>
    <dgm:cxn modelId="{D7D4C601-AA2C-E64B-853C-D87B2996609F}" type="presOf" srcId="{54D20FCD-FDC2-414D-AA55-886902B54AF8}" destId="{5A94B3F2-DDA0-CF47-9CB5-E42950A451A1}" srcOrd="0" destOrd="1" presId="urn:microsoft.com/office/officeart/2005/8/layout/target3"/>
    <dgm:cxn modelId="{0AA4F476-D329-3A44-9677-06FA698EC17D}" type="presOf" srcId="{0D40FA0E-076E-1E4C-9343-C40DBB1E5CC6}" destId="{AC96B1EE-5FF1-1E4D-BCA4-AFACA6BDB4CD}" srcOrd="0" destOrd="0" presId="urn:microsoft.com/office/officeart/2005/8/layout/target3"/>
    <dgm:cxn modelId="{5204DFA6-7EFC-274D-8AAE-BC3F29B58E92}" srcId="{77B847B6-FD69-F541-AA83-66CE48C9D29B}" destId="{4AB3FB99-79B2-1149-891F-FF8CB30F30EB}" srcOrd="1" destOrd="0" parTransId="{7BB578DE-BBD5-F94C-9D27-618E3792BC7A}" sibTransId="{9A84A7F5-53C6-384A-A5C7-29A93170A494}"/>
    <dgm:cxn modelId="{001C4B45-C892-8D4F-8E32-24220D80DF9F}" type="presOf" srcId="{0AC4F3B0-B757-6E43-843C-770739995FC2}" destId="{33F1143D-D5F7-CF44-B42D-90B1C95DC730}" srcOrd="1" destOrd="0" presId="urn:microsoft.com/office/officeart/2005/8/layout/target3"/>
    <dgm:cxn modelId="{99B45953-7EBA-F244-B8DA-A7A3E6977EBC}" type="presOf" srcId="{136B1BF3-82ED-C148-8E57-865D431094BD}" destId="{5A94B3F2-DDA0-CF47-9CB5-E42950A451A1}" srcOrd="0" destOrd="2" presId="urn:microsoft.com/office/officeart/2005/8/layout/target3"/>
    <dgm:cxn modelId="{A981C231-0D9D-D340-AA9B-3A81B24AA695}" type="presOf" srcId="{0AC4F3B0-B757-6E43-843C-770739995FC2}" destId="{41A8A450-3A67-1641-B699-20902B4A23DF}" srcOrd="0" destOrd="0" presId="urn:microsoft.com/office/officeart/2005/8/layout/target3"/>
    <dgm:cxn modelId="{E5172293-5577-FA4A-A01C-E1C770B7BF21}" srcId="{0AC4F3B0-B757-6E43-843C-770739995FC2}" destId="{E4DE51B6-EE4B-E04F-B2C2-91A529E4E4BB}" srcOrd="1" destOrd="0" parTransId="{ECBB4F2F-C051-1943-AC30-F29DA787AA67}" sibTransId="{2F449CEA-C374-E246-9516-716D837579F4}"/>
    <dgm:cxn modelId="{241F0163-5360-3543-B023-B6E999E103D8}" type="presOf" srcId="{77B847B6-FD69-F541-AA83-66CE48C9D29B}" destId="{EE0CBB45-F7B7-4748-905B-A7C070B29A65}" srcOrd="0" destOrd="0" presId="urn:microsoft.com/office/officeart/2005/8/layout/target3"/>
    <dgm:cxn modelId="{1B88D08E-0CF7-4C42-95E9-FDBE68319920}" type="presOf" srcId="{791CBFC3-0D3B-0D4F-AD6A-C0F1FBBC51A4}" destId="{5A94B3F2-DDA0-CF47-9CB5-E42950A451A1}" srcOrd="0" destOrd="0" presId="urn:microsoft.com/office/officeart/2005/8/layout/target3"/>
    <dgm:cxn modelId="{7E6FCC32-6ECE-274C-81A4-67CD93C052FC}" srcId="{9F2A61DC-F647-A646-8244-98608CCE42D5}" destId="{0AC4F3B0-B757-6E43-843C-770739995FC2}" srcOrd="0" destOrd="0" parTransId="{D78E0928-63CB-094C-8CA3-D502BD1712A9}" sibTransId="{F3F6533E-1C57-A64C-BE8E-56E38AEE903A}"/>
    <dgm:cxn modelId="{0E9594B5-D41E-7F49-ABA5-32000E16AD09}" type="presOf" srcId="{D59B0033-3EC5-BD4D-84DF-574560CBA822}" destId="{AC96B1EE-5FF1-1E4D-BCA4-AFACA6BDB4CD}" srcOrd="0" destOrd="3" presId="urn:microsoft.com/office/officeart/2005/8/layout/target3"/>
    <dgm:cxn modelId="{35C2EF77-27C7-9D41-AFEF-33B8A08924EC}" type="presOf" srcId="{9F2A61DC-F647-A646-8244-98608CCE42D5}" destId="{E701C720-F3BB-8043-9381-2CEDAEBB5C67}" srcOrd="0" destOrd="0" presId="urn:microsoft.com/office/officeart/2005/8/layout/target3"/>
    <dgm:cxn modelId="{F487EA11-109E-1A41-9FF9-83C3A6EAD649}" srcId="{0AC4F3B0-B757-6E43-843C-770739995FC2}" destId="{E14991A0-26B9-6C4E-B218-41F919361B68}" srcOrd="2" destOrd="0" parTransId="{A6D110EA-B330-9744-990A-B09C057D59D8}" sibTransId="{6D1531AA-79A4-6041-91D5-E0297C3569DA}"/>
    <dgm:cxn modelId="{9ADE2691-EE05-5A4A-B3F8-2BAF8DD93764}" type="presParOf" srcId="{E701C720-F3BB-8043-9381-2CEDAEBB5C67}" destId="{C5164253-072A-614F-903A-8D0150F8E534}" srcOrd="0" destOrd="0" presId="urn:microsoft.com/office/officeart/2005/8/layout/target3"/>
    <dgm:cxn modelId="{C01F1B8B-C25C-5746-BE48-011F98CEFC5F}" type="presParOf" srcId="{E701C720-F3BB-8043-9381-2CEDAEBB5C67}" destId="{CC75BB4E-6C2E-104D-BEA4-59A8F58A61DC}" srcOrd="1" destOrd="0" presId="urn:microsoft.com/office/officeart/2005/8/layout/target3"/>
    <dgm:cxn modelId="{9B50B183-D98E-0F4F-866A-782864432229}" type="presParOf" srcId="{E701C720-F3BB-8043-9381-2CEDAEBB5C67}" destId="{41A8A450-3A67-1641-B699-20902B4A23DF}" srcOrd="2" destOrd="0" presId="urn:microsoft.com/office/officeart/2005/8/layout/target3"/>
    <dgm:cxn modelId="{7FDBCE8A-F05A-4A49-A501-B7087D79D6ED}" type="presParOf" srcId="{E701C720-F3BB-8043-9381-2CEDAEBB5C67}" destId="{32BB585C-B0C0-F946-B628-0C4B145896D2}" srcOrd="3" destOrd="0" presId="urn:microsoft.com/office/officeart/2005/8/layout/target3"/>
    <dgm:cxn modelId="{740A8848-1027-2745-8D3D-6AD542F3D24F}" type="presParOf" srcId="{E701C720-F3BB-8043-9381-2CEDAEBB5C67}" destId="{869D9061-673A-9142-9313-F0D8E79E6A61}" srcOrd="4" destOrd="0" presId="urn:microsoft.com/office/officeart/2005/8/layout/target3"/>
    <dgm:cxn modelId="{698E23E4-FCFA-7340-80CC-65D98AF6430D}" type="presParOf" srcId="{E701C720-F3BB-8043-9381-2CEDAEBB5C67}" destId="{EE0CBB45-F7B7-4748-905B-A7C070B29A65}" srcOrd="5" destOrd="0" presId="urn:microsoft.com/office/officeart/2005/8/layout/target3"/>
    <dgm:cxn modelId="{F54DAAD0-CEC7-E44F-8CA3-8B751F007070}" type="presParOf" srcId="{E701C720-F3BB-8043-9381-2CEDAEBB5C67}" destId="{83E98EDE-FC8E-2A4D-9D2A-B22D8E6358DE}" srcOrd="6" destOrd="0" presId="urn:microsoft.com/office/officeart/2005/8/layout/target3"/>
    <dgm:cxn modelId="{58C0F4AD-389A-994E-A58F-B6B6AF3B4040}" type="presParOf" srcId="{E701C720-F3BB-8043-9381-2CEDAEBB5C67}" destId="{C77E8184-22AA-BF48-9F4F-9F90431F0C2E}" srcOrd="7" destOrd="0" presId="urn:microsoft.com/office/officeart/2005/8/layout/target3"/>
    <dgm:cxn modelId="{F1C08E4C-E928-B44F-829D-236DE07E4940}" type="presParOf" srcId="{E701C720-F3BB-8043-9381-2CEDAEBB5C67}" destId="{B36AD82A-C8F2-0F43-8E48-32DEF045C05D}" srcOrd="8" destOrd="0" presId="urn:microsoft.com/office/officeart/2005/8/layout/target3"/>
    <dgm:cxn modelId="{A9A91819-D166-864B-99EB-1FFA006BA21A}" type="presParOf" srcId="{E701C720-F3BB-8043-9381-2CEDAEBB5C67}" destId="{33F1143D-D5F7-CF44-B42D-90B1C95DC730}" srcOrd="9" destOrd="0" presId="urn:microsoft.com/office/officeart/2005/8/layout/target3"/>
    <dgm:cxn modelId="{50FFC9BC-8EB7-4A4C-8500-0806176F3633}" type="presParOf" srcId="{E701C720-F3BB-8043-9381-2CEDAEBB5C67}" destId="{10932E85-D96A-2643-A3E2-A224C6357A9B}" srcOrd="10" destOrd="0" presId="urn:microsoft.com/office/officeart/2005/8/layout/target3"/>
    <dgm:cxn modelId="{F2A1E00F-BF81-0741-97FB-CE97E6C9F9F6}" type="presParOf" srcId="{E701C720-F3BB-8043-9381-2CEDAEBB5C67}" destId="{5E293385-356B-9546-BBAA-773D9D70F35C}" srcOrd="11" destOrd="0" presId="urn:microsoft.com/office/officeart/2005/8/layout/target3"/>
    <dgm:cxn modelId="{FC56E0ED-41AD-9E4C-B967-9476F26EBA0B}" type="presParOf" srcId="{E701C720-F3BB-8043-9381-2CEDAEBB5C67}" destId="{AC96B1EE-5FF1-1E4D-BCA4-AFACA6BDB4CD}" srcOrd="12" destOrd="0" presId="urn:microsoft.com/office/officeart/2005/8/layout/target3"/>
    <dgm:cxn modelId="{FC2907B6-FD1B-3746-B113-1CC1F70E06AB}" type="presParOf" srcId="{E701C720-F3BB-8043-9381-2CEDAEBB5C67}" destId="{B32B3030-A485-E84E-886D-7D73CE39FC15}" srcOrd="13" destOrd="0" presId="urn:microsoft.com/office/officeart/2005/8/layout/target3"/>
    <dgm:cxn modelId="{321584BB-E8D1-0545-BA30-499C6C69A6EA}" type="presParOf" srcId="{E701C720-F3BB-8043-9381-2CEDAEBB5C67}" destId="{5A94B3F2-DDA0-CF47-9CB5-E42950A451A1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35CD9A-F065-4BE3-8302-1382D370FC2D}">
      <dsp:nvSpPr>
        <dsp:cNvPr id="0" name=""/>
        <dsp:cNvSpPr/>
      </dsp:nvSpPr>
      <dsp:spPr>
        <a:xfrm>
          <a:off x="1631" y="0"/>
          <a:ext cx="2538933" cy="351074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rgbClr val="000000"/>
              </a:solidFill>
            </a:rPr>
            <a:t>Agile</a:t>
          </a:r>
          <a:r>
            <a:rPr lang="en-US" sz="1200" b="1" kern="1200" baseline="0" dirty="0" smtClean="0">
              <a:solidFill>
                <a:srgbClr val="000000"/>
              </a:solidFill>
            </a:rPr>
            <a:t> </a:t>
          </a:r>
          <a:r>
            <a:rPr lang="en-US" sz="1200" b="1" kern="1200" dirty="0" smtClean="0">
              <a:solidFill>
                <a:srgbClr val="000000"/>
              </a:solidFill>
            </a:rPr>
            <a:t>Methodology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 smtClean="0">
              <a:solidFill>
                <a:srgbClr val="000000"/>
              </a:solidFill>
            </a:rPr>
            <a:t>We use Agile methodologies </a:t>
          </a:r>
          <a:br>
            <a:rPr lang="en-US" sz="1200" kern="1200" dirty="0" smtClean="0">
              <a:solidFill>
                <a:srgbClr val="000000"/>
              </a:solidFill>
            </a:rPr>
          </a:br>
          <a:r>
            <a:rPr lang="en-US" sz="1200" kern="1200" dirty="0" smtClean="0">
              <a:solidFill>
                <a:srgbClr val="000000"/>
              </a:solidFill>
            </a:rPr>
            <a:t>to manage our projects.</a:t>
          </a:r>
          <a:endParaRPr lang="en-US" sz="1200" kern="1200" dirty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200" kern="1200" dirty="0" smtClean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 smtClean="0">
              <a:solidFill>
                <a:srgbClr val="000000"/>
              </a:solidFill>
            </a:rPr>
            <a:t>We use the tools &amp;  methodologies preferred by </a:t>
          </a:r>
          <a:br>
            <a:rPr lang="en-US" sz="1200" kern="1200" dirty="0" smtClean="0">
              <a:solidFill>
                <a:srgbClr val="000000"/>
              </a:solidFill>
            </a:rPr>
          </a:br>
          <a:r>
            <a:rPr lang="en-US" sz="1200" kern="1200" dirty="0" smtClean="0">
              <a:solidFill>
                <a:srgbClr val="000000"/>
              </a:solidFill>
            </a:rPr>
            <a:t>our customers.</a:t>
          </a:r>
          <a:endParaRPr lang="en-US" sz="1200" kern="1200" dirty="0">
            <a:solidFill>
              <a:srgbClr val="000000"/>
            </a:solidFill>
          </a:endParaRPr>
        </a:p>
      </dsp:txBody>
      <dsp:txXfrm>
        <a:off x="1631" y="1404297"/>
        <a:ext cx="2538933" cy="1404297"/>
      </dsp:txXfrm>
    </dsp:sp>
    <dsp:sp modelId="{AE519F8D-ECB6-42E7-952B-3843A9C3E942}">
      <dsp:nvSpPr>
        <dsp:cNvPr id="0" name=""/>
        <dsp:cNvSpPr/>
      </dsp:nvSpPr>
      <dsp:spPr>
        <a:xfrm>
          <a:off x="649768" y="319228"/>
          <a:ext cx="1169077" cy="1169077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25ED8A-B4B4-42D7-83FB-E2170A1ECD8D}">
      <dsp:nvSpPr>
        <dsp:cNvPr id="0" name=""/>
        <dsp:cNvSpPr/>
      </dsp:nvSpPr>
      <dsp:spPr>
        <a:xfrm>
          <a:off x="2616732" y="0"/>
          <a:ext cx="2538933" cy="351074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rgbClr val="000000"/>
              </a:solidFill>
            </a:rPr>
            <a:t>Collaboration</a:t>
          </a:r>
          <a:endParaRPr lang="en-US" sz="1200" b="1" kern="1200" dirty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 smtClean="0">
              <a:solidFill>
                <a:srgbClr val="000000"/>
              </a:solidFill>
            </a:rPr>
            <a:t>We design and implement functionality in tight collaboration with our customers and partners.</a:t>
          </a:r>
          <a:endParaRPr lang="en-US" sz="1200" kern="1200" dirty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200" kern="1200" dirty="0" smtClean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 smtClean="0">
              <a:solidFill>
                <a:srgbClr val="000000"/>
              </a:solidFill>
            </a:rPr>
            <a:t>The design of a new feature</a:t>
          </a:r>
          <a:r>
            <a:rPr lang="en-US" sz="1200" kern="1200" baseline="0" dirty="0" smtClean="0">
              <a:solidFill>
                <a:srgbClr val="000000"/>
              </a:solidFill>
            </a:rPr>
            <a:t> and/or </a:t>
          </a:r>
          <a:r>
            <a:rPr lang="en-US" sz="1200" kern="1200" dirty="0" smtClean="0">
              <a:solidFill>
                <a:srgbClr val="000000"/>
              </a:solidFill>
            </a:rPr>
            <a:t>solution often starts through </a:t>
          </a:r>
          <a:r>
            <a:rPr lang="en-US" sz="1200" kern="1200" baseline="0" dirty="0" smtClean="0">
              <a:solidFill>
                <a:srgbClr val="000000"/>
              </a:solidFill>
            </a:rPr>
            <a:t>a set of </a:t>
          </a:r>
          <a:r>
            <a:rPr lang="en-US" sz="1200" kern="1200" dirty="0" smtClean="0">
              <a:solidFill>
                <a:srgbClr val="000000"/>
              </a:solidFill>
            </a:rPr>
            <a:t>workshops.</a:t>
          </a:r>
          <a:endParaRPr lang="en-US" sz="1200" kern="1200" dirty="0">
            <a:solidFill>
              <a:srgbClr val="000000"/>
            </a:solidFill>
          </a:endParaRPr>
        </a:p>
      </dsp:txBody>
      <dsp:txXfrm>
        <a:off x="2616732" y="1404297"/>
        <a:ext cx="2538933" cy="1404297"/>
      </dsp:txXfrm>
    </dsp:sp>
    <dsp:sp modelId="{FC82E46D-73E1-4D7D-A4CF-863302760A7F}">
      <dsp:nvSpPr>
        <dsp:cNvPr id="0" name=""/>
        <dsp:cNvSpPr/>
      </dsp:nvSpPr>
      <dsp:spPr>
        <a:xfrm>
          <a:off x="3247006" y="319228"/>
          <a:ext cx="1169077" cy="1169077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112E27-CF3F-4BA1-86B7-1F50CF93FF7B}">
      <dsp:nvSpPr>
        <dsp:cNvPr id="0" name=""/>
        <dsp:cNvSpPr/>
      </dsp:nvSpPr>
      <dsp:spPr>
        <a:xfrm>
          <a:off x="5233458" y="0"/>
          <a:ext cx="2538933" cy="351074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1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rgbClr val="000000"/>
              </a:solidFill>
            </a:rPr>
            <a:t>Deploy &amp; Operate</a:t>
          </a:r>
          <a:endParaRPr lang="en-US" sz="1200" b="1" kern="1200" dirty="0">
            <a:solidFill>
              <a:srgbClr val="000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 smtClean="0">
              <a:solidFill>
                <a:srgbClr val="000000"/>
              </a:solidFill>
            </a:rPr>
            <a:t>We offer Managed Services </a:t>
          </a:r>
          <a:br>
            <a:rPr lang="en-US" sz="1200" kern="1200" dirty="0" smtClean="0">
              <a:solidFill>
                <a:srgbClr val="000000"/>
              </a:solidFill>
            </a:rPr>
          </a:br>
          <a:r>
            <a:rPr lang="en-US" sz="1200" kern="1200" dirty="0" smtClean="0">
              <a:solidFill>
                <a:srgbClr val="000000"/>
              </a:solidFill>
            </a:rPr>
            <a:t>to operate/maintain the customized solutions and </a:t>
          </a:r>
          <a:br>
            <a:rPr lang="en-US" sz="1200" kern="1200" dirty="0" smtClean="0">
              <a:solidFill>
                <a:srgbClr val="000000"/>
              </a:solidFill>
            </a:rPr>
          </a:br>
          <a:r>
            <a:rPr lang="en-US" sz="1200" kern="1200" dirty="0" smtClean="0">
              <a:solidFill>
                <a:srgbClr val="000000"/>
              </a:solidFill>
            </a:rPr>
            <a:t>the underlying platform of </a:t>
          </a:r>
          <a:br>
            <a:rPr lang="en-US" sz="1200" kern="1200" dirty="0" smtClean="0">
              <a:solidFill>
                <a:srgbClr val="000000"/>
              </a:solidFill>
            </a:rPr>
          </a:br>
          <a:r>
            <a:rPr lang="en-US" sz="1200" kern="1200" dirty="0" smtClean="0">
              <a:solidFill>
                <a:srgbClr val="000000"/>
              </a:solidFill>
            </a:rPr>
            <a:t>our customer.</a:t>
          </a:r>
          <a:endParaRPr lang="en-US" sz="1200" kern="1200" dirty="0">
            <a:solidFill>
              <a:srgbClr val="000000"/>
            </a:solidFill>
          </a:endParaRPr>
        </a:p>
      </dsp:txBody>
      <dsp:txXfrm>
        <a:off x="5233458" y="1404297"/>
        <a:ext cx="2538933" cy="1404297"/>
      </dsp:txXfrm>
    </dsp:sp>
    <dsp:sp modelId="{84164581-A878-44AE-BBC2-B6E4810707D9}">
      <dsp:nvSpPr>
        <dsp:cNvPr id="0" name=""/>
        <dsp:cNvSpPr/>
      </dsp:nvSpPr>
      <dsp:spPr>
        <a:xfrm>
          <a:off x="5844243" y="319228"/>
          <a:ext cx="1169077" cy="1169077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4F31E8-BE12-458A-87AD-F3C71EAFF98B}">
      <dsp:nvSpPr>
        <dsp:cNvPr id="0" name=""/>
        <dsp:cNvSpPr/>
      </dsp:nvSpPr>
      <dsp:spPr>
        <a:xfrm>
          <a:off x="333777" y="69417"/>
          <a:ext cx="7150607" cy="256812"/>
        </a:xfrm>
        <a:prstGeom prst="left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EB5FF4-B26E-F247-B62D-020335E18CFC}">
      <dsp:nvSpPr>
        <dsp:cNvPr id="0" name=""/>
        <dsp:cNvSpPr/>
      </dsp:nvSpPr>
      <dsp:spPr>
        <a:xfrm rot="5400000">
          <a:off x="-194393" y="196889"/>
          <a:ext cx="1295956" cy="907169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Apica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Web Performanc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Experts</a:t>
          </a:r>
          <a:endParaRPr lang="en-US" sz="900" kern="1200" dirty="0"/>
        </a:p>
      </dsp:txBody>
      <dsp:txXfrm rot="-5400000">
        <a:off x="1" y="456081"/>
        <a:ext cx="907169" cy="388787"/>
      </dsp:txXfrm>
    </dsp:sp>
    <dsp:sp modelId="{4CE32564-C5B4-0544-A757-3427E524AA93}">
      <dsp:nvSpPr>
        <dsp:cNvPr id="0" name=""/>
        <dsp:cNvSpPr/>
      </dsp:nvSpPr>
      <dsp:spPr>
        <a:xfrm rot="5400000">
          <a:off x="3209558" y="-2299893"/>
          <a:ext cx="842814" cy="54475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Apica is a true specialist within Web Performance.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We</a:t>
          </a:r>
          <a:r>
            <a:rPr lang="en-US" sz="900" b="1" kern="1200" baseline="0" dirty="0" smtClean="0"/>
            <a:t> have developed a word class platform for Load Testing (ALT) and Synthetic Monitoring (ASM) which is successfully used by a large number of customers.</a:t>
          </a:r>
          <a:endParaRPr lang="en-US" sz="900" b="1" kern="1200" dirty="0"/>
        </a:p>
      </dsp:txBody>
      <dsp:txXfrm rot="-5400000">
        <a:off x="907169" y="43639"/>
        <a:ext cx="5406450" cy="760528"/>
      </dsp:txXfrm>
    </dsp:sp>
    <dsp:sp modelId="{E0B4A215-B2A9-C840-8A25-FFD2330BFB48}">
      <dsp:nvSpPr>
        <dsp:cNvPr id="0" name=""/>
        <dsp:cNvSpPr/>
      </dsp:nvSpPr>
      <dsp:spPr>
        <a:xfrm rot="5400000">
          <a:off x="-194393" y="1294252"/>
          <a:ext cx="1295956" cy="907169"/>
        </a:xfrm>
        <a:prstGeom prst="chevron">
          <a:avLst/>
        </a:prstGeom>
        <a:gradFill rotWithShape="0">
          <a:gsLst>
            <a:gs pos="0">
              <a:schemeClr val="accent3">
                <a:hueOff val="-1011390"/>
                <a:satOff val="-2084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011390"/>
                <a:satOff val="-2084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011390"/>
                <a:satOff val="-2084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-1011390"/>
              <a:satOff val="-20841"/>
              <a:lumOff val="-529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urrent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Servic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 Offerings</a:t>
          </a:r>
          <a:endParaRPr lang="en-US" sz="900" kern="1200" dirty="0"/>
        </a:p>
      </dsp:txBody>
      <dsp:txXfrm rot="-5400000">
        <a:off x="1" y="1553444"/>
        <a:ext cx="907169" cy="388787"/>
      </dsp:txXfrm>
    </dsp:sp>
    <dsp:sp modelId="{89EA099C-7DB1-574F-8393-644D9B60C0A9}">
      <dsp:nvSpPr>
        <dsp:cNvPr id="0" name=""/>
        <dsp:cNvSpPr/>
      </dsp:nvSpPr>
      <dsp:spPr>
        <a:xfrm rot="5400000">
          <a:off x="3209780" y="-1202751"/>
          <a:ext cx="842371" cy="54475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1011390"/>
              <a:satOff val="-20841"/>
              <a:lumOff val="-529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We deliver</a:t>
          </a:r>
          <a:r>
            <a:rPr lang="en-US" sz="900" b="1" kern="1200" baseline="0" dirty="0" smtClean="0"/>
            <a:t> load test engagements and synthetic monitoring scripting support to our customers.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The services are often tightly</a:t>
          </a:r>
          <a:r>
            <a:rPr lang="en-US" sz="900" b="1" kern="1200" baseline="0" dirty="0" smtClean="0"/>
            <a:t> coupled to our products and are relatively short in duration.</a:t>
          </a:r>
          <a:endParaRPr lang="en-US" sz="900" b="1" kern="1200" dirty="0"/>
        </a:p>
      </dsp:txBody>
      <dsp:txXfrm rot="-5400000">
        <a:off x="907170" y="1140980"/>
        <a:ext cx="5406472" cy="760129"/>
      </dsp:txXfrm>
    </dsp:sp>
    <dsp:sp modelId="{D2E1DE01-2B16-244A-85D5-7B464C67E346}">
      <dsp:nvSpPr>
        <dsp:cNvPr id="0" name=""/>
        <dsp:cNvSpPr/>
      </dsp:nvSpPr>
      <dsp:spPr>
        <a:xfrm rot="5400000">
          <a:off x="-194393" y="2391615"/>
          <a:ext cx="1295956" cy="907169"/>
        </a:xfrm>
        <a:prstGeom prst="chevron">
          <a:avLst/>
        </a:prstGeom>
        <a:gradFill rotWithShape="0">
          <a:gsLst>
            <a:gs pos="0">
              <a:schemeClr val="accent3">
                <a:hueOff val="-2022780"/>
                <a:satOff val="-41682"/>
                <a:lumOff val="-105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2022780"/>
                <a:satOff val="-41682"/>
                <a:lumOff val="-105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2022780"/>
                <a:satOff val="-41682"/>
                <a:lumOff val="-105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-2022780"/>
              <a:satOff val="-41682"/>
              <a:lumOff val="-1058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Extended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Service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Offerings </a:t>
          </a:r>
          <a:endParaRPr lang="en-US" sz="900" kern="1200" dirty="0"/>
        </a:p>
      </dsp:txBody>
      <dsp:txXfrm rot="-5400000">
        <a:off x="1" y="2650807"/>
        <a:ext cx="907169" cy="388787"/>
      </dsp:txXfrm>
    </dsp:sp>
    <dsp:sp modelId="{FDDCED93-054D-EF40-84B1-A106E78E4828}">
      <dsp:nvSpPr>
        <dsp:cNvPr id="0" name=""/>
        <dsp:cNvSpPr/>
      </dsp:nvSpPr>
      <dsp:spPr>
        <a:xfrm rot="5400000">
          <a:off x="3209780" y="-105388"/>
          <a:ext cx="842371" cy="54475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2022780"/>
              <a:satOff val="-41682"/>
              <a:lumOff val="-1058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We have</a:t>
          </a:r>
          <a:r>
            <a:rPr lang="en-US" sz="900" b="1" kern="1200" baseline="0" dirty="0" smtClean="0"/>
            <a:t> now extended our Apica Service Offerings to advisory and best </a:t>
          </a:r>
          <a:r>
            <a:rPr lang="en-US" sz="900" b="1" kern="1200" baseline="0" dirty="0" err="1" smtClean="0"/>
            <a:t>practises</a:t>
          </a:r>
          <a:r>
            <a:rPr lang="en-US" sz="900" b="1" kern="1200" baseline="0" dirty="0" smtClean="0"/>
            <a:t> level in order to support our customers with Performance Excellence topics.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 smtClean="0"/>
            <a:t>The</a:t>
          </a:r>
          <a:r>
            <a:rPr lang="en-US" sz="900" b="1" kern="1200" baseline="0" dirty="0" smtClean="0"/>
            <a:t> Extended Service Offerings are less tightly coupled to our products and instead more focused on customer value in the Web Performance disciplines.</a:t>
          </a:r>
          <a:endParaRPr lang="en-US" sz="900" b="1" kern="1200" dirty="0"/>
        </a:p>
      </dsp:txBody>
      <dsp:txXfrm rot="-5400000">
        <a:off x="907170" y="2238343"/>
        <a:ext cx="5406472" cy="7601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164253-072A-614F-903A-8D0150F8E534}">
      <dsp:nvSpPr>
        <dsp:cNvPr id="0" name=""/>
        <dsp:cNvSpPr/>
      </dsp:nvSpPr>
      <dsp:spPr>
        <a:xfrm>
          <a:off x="-9695" y="0"/>
          <a:ext cx="3495674" cy="3495674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A8A450-3A67-1641-B699-20902B4A23DF}">
      <dsp:nvSpPr>
        <dsp:cNvPr id="0" name=""/>
        <dsp:cNvSpPr/>
      </dsp:nvSpPr>
      <dsp:spPr>
        <a:xfrm>
          <a:off x="1738141" y="0"/>
          <a:ext cx="6230228" cy="349567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opic</a:t>
          </a:r>
          <a:r>
            <a:rPr lang="en-US" sz="1200" kern="1200" baseline="0" dirty="0" smtClean="0"/>
            <a:t> description</a:t>
          </a:r>
          <a:endParaRPr lang="en-US" sz="1200" kern="1200" dirty="0"/>
        </a:p>
      </dsp:txBody>
      <dsp:txXfrm>
        <a:off x="1738141" y="0"/>
        <a:ext cx="3115114" cy="1048704"/>
      </dsp:txXfrm>
    </dsp:sp>
    <dsp:sp modelId="{869D9061-673A-9142-9313-F0D8E79E6A61}">
      <dsp:nvSpPr>
        <dsp:cNvPr id="0" name=""/>
        <dsp:cNvSpPr/>
      </dsp:nvSpPr>
      <dsp:spPr>
        <a:xfrm>
          <a:off x="602048" y="1048704"/>
          <a:ext cx="2272186" cy="2272186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1011390"/>
                <a:satOff val="-2084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011390"/>
                <a:satOff val="-2084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011390"/>
                <a:satOff val="-2084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0CBB45-F7B7-4748-905B-A7C070B29A65}">
      <dsp:nvSpPr>
        <dsp:cNvPr id="0" name=""/>
        <dsp:cNvSpPr/>
      </dsp:nvSpPr>
      <dsp:spPr>
        <a:xfrm>
          <a:off x="1738141" y="1048704"/>
          <a:ext cx="6230228" cy="227218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1011390"/>
              <a:satOff val="-20841"/>
              <a:lumOff val="-529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Apica product capabilities</a:t>
          </a:r>
          <a:endParaRPr lang="en-US" sz="1200" kern="1200" dirty="0"/>
        </a:p>
      </dsp:txBody>
      <dsp:txXfrm>
        <a:off x="1738141" y="1048704"/>
        <a:ext cx="3115114" cy="1048701"/>
      </dsp:txXfrm>
    </dsp:sp>
    <dsp:sp modelId="{C77E8184-22AA-BF48-9F4F-9F90431F0C2E}">
      <dsp:nvSpPr>
        <dsp:cNvPr id="0" name=""/>
        <dsp:cNvSpPr/>
      </dsp:nvSpPr>
      <dsp:spPr>
        <a:xfrm>
          <a:off x="1213790" y="2097406"/>
          <a:ext cx="1048701" cy="104870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2022780"/>
                <a:satOff val="-41682"/>
                <a:lumOff val="-105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2022780"/>
                <a:satOff val="-41682"/>
                <a:lumOff val="-105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2022780"/>
                <a:satOff val="-41682"/>
                <a:lumOff val="-105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6AD82A-C8F2-0F43-8E48-32DEF045C05D}">
      <dsp:nvSpPr>
        <dsp:cNvPr id="0" name=""/>
        <dsp:cNvSpPr/>
      </dsp:nvSpPr>
      <dsp:spPr>
        <a:xfrm>
          <a:off x="1738141" y="2097406"/>
          <a:ext cx="6230228" cy="10487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2022780"/>
              <a:satOff val="-41682"/>
              <a:lumOff val="-1058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ervice</a:t>
          </a:r>
          <a:r>
            <a:rPr lang="en-US" sz="1200" kern="1200" baseline="0" dirty="0" smtClean="0"/>
            <a:t> deliveries</a:t>
          </a:r>
          <a:endParaRPr lang="en-US" sz="1200" kern="1200" dirty="0"/>
        </a:p>
      </dsp:txBody>
      <dsp:txXfrm>
        <a:off x="1738141" y="2097406"/>
        <a:ext cx="3115114" cy="1048701"/>
      </dsp:txXfrm>
    </dsp:sp>
    <dsp:sp modelId="{10932E85-D96A-2643-A3E2-A224C6357A9B}">
      <dsp:nvSpPr>
        <dsp:cNvPr id="0" name=""/>
        <dsp:cNvSpPr/>
      </dsp:nvSpPr>
      <dsp:spPr>
        <a:xfrm>
          <a:off x="4833864" y="0"/>
          <a:ext cx="3153897" cy="1048704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Continuous</a:t>
          </a:r>
          <a:r>
            <a:rPr lang="en-US" sz="700" b="1" kern="1200" baseline="0" dirty="0" smtClean="0"/>
            <a:t> Integration and Testing are parts of Agile development and </a:t>
          </a:r>
          <a:r>
            <a:rPr lang="en-US" sz="700" b="1" kern="1200" baseline="0" dirty="0" err="1" smtClean="0"/>
            <a:t>DevOps</a:t>
          </a:r>
          <a:r>
            <a:rPr lang="en-US" sz="700" b="1" kern="1200" baseline="0" dirty="0" smtClean="0"/>
            <a:t> disciplines.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baseline="0" dirty="0" smtClean="0"/>
            <a:t> </a:t>
          </a:r>
          <a:endParaRPr lang="en-US" sz="7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Load testing</a:t>
          </a:r>
          <a:r>
            <a:rPr lang="en-US" sz="700" b="1" kern="1200" baseline="0" dirty="0" smtClean="0"/>
            <a:t> in this context means that it is integrated in the continuous build &amp; release management processes of applications.</a:t>
          </a:r>
          <a:endParaRPr lang="en-US" sz="700" b="1" kern="1200" dirty="0"/>
        </a:p>
      </dsp:txBody>
      <dsp:txXfrm>
        <a:off x="4833864" y="0"/>
        <a:ext cx="3153897" cy="1048704"/>
      </dsp:txXfrm>
    </dsp:sp>
    <dsp:sp modelId="{AC96B1EE-5FF1-1E4D-BCA4-AFACA6BDB4CD}">
      <dsp:nvSpPr>
        <dsp:cNvPr id="0" name=""/>
        <dsp:cNvSpPr/>
      </dsp:nvSpPr>
      <dsp:spPr>
        <a:xfrm>
          <a:off x="4853255" y="1048704"/>
          <a:ext cx="3115114" cy="1048701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The Apica Load testing product suite is ready</a:t>
          </a:r>
          <a:r>
            <a:rPr lang="en-US" sz="700" b="1" kern="1200" baseline="0" dirty="0" smtClean="0"/>
            <a:t> to manage continuous integration.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7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We integrate our tools with the leading</a:t>
          </a:r>
          <a:r>
            <a:rPr lang="en-US" sz="700" b="1" kern="1200" baseline="0" dirty="0" smtClean="0"/>
            <a:t> solutions in this area.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700" b="1" kern="1200" baseline="0" dirty="0" smtClean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baseline="0" dirty="0" smtClean="0"/>
            <a:t>You can automate execution of load tests with the automation API in our load test management platform.</a:t>
          </a:r>
        </a:p>
      </dsp:txBody>
      <dsp:txXfrm>
        <a:off x="4853255" y="1048704"/>
        <a:ext cx="3115114" cy="1048701"/>
      </dsp:txXfrm>
    </dsp:sp>
    <dsp:sp modelId="{5A94B3F2-DDA0-CF47-9CB5-E42950A451A1}">
      <dsp:nvSpPr>
        <dsp:cNvPr id="0" name=""/>
        <dsp:cNvSpPr/>
      </dsp:nvSpPr>
      <dsp:spPr>
        <a:xfrm>
          <a:off x="4853255" y="2097406"/>
          <a:ext cx="3115114" cy="1048701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We help</a:t>
          </a:r>
          <a:r>
            <a:rPr lang="en-US" sz="700" b="1" kern="1200" baseline="0" dirty="0" smtClean="0"/>
            <a:t> you to develop and maintain load test scenarios which works in your test environment for continuous delivery/testing.  </a:t>
          </a:r>
          <a:endParaRPr lang="en-US" sz="7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700" b="1" kern="1200" dirty="0" smtClean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b="1" kern="1200" dirty="0" smtClean="0"/>
            <a:t>We</a:t>
          </a:r>
          <a:r>
            <a:rPr lang="en-US" sz="700" b="1" kern="1200" baseline="0" dirty="0" smtClean="0"/>
            <a:t> help you with setting up integration between Apica load test management platform and your tools &amp; processes in continuous integration. </a:t>
          </a:r>
          <a:endParaRPr lang="en-US" sz="700" b="1" kern="1200" dirty="0" smtClean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700" kern="1200" dirty="0" smtClean="0"/>
        </a:p>
      </dsp:txBody>
      <dsp:txXfrm>
        <a:off x="4853255" y="2097406"/>
        <a:ext cx="3115114" cy="10487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164253-072A-614F-903A-8D0150F8E534}">
      <dsp:nvSpPr>
        <dsp:cNvPr id="0" name=""/>
        <dsp:cNvSpPr/>
      </dsp:nvSpPr>
      <dsp:spPr>
        <a:xfrm>
          <a:off x="-102348" y="0"/>
          <a:ext cx="3495675" cy="3495675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A8A450-3A67-1641-B699-20902B4A23DF}">
      <dsp:nvSpPr>
        <dsp:cNvPr id="0" name=""/>
        <dsp:cNvSpPr/>
      </dsp:nvSpPr>
      <dsp:spPr>
        <a:xfrm>
          <a:off x="1645489" y="0"/>
          <a:ext cx="6119018" cy="34956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opic</a:t>
          </a:r>
          <a:r>
            <a:rPr lang="en-US" sz="1200" kern="1200" baseline="0" dirty="0" smtClean="0"/>
            <a:t> description</a:t>
          </a:r>
          <a:endParaRPr lang="en-US" sz="1200" kern="1200" dirty="0"/>
        </a:p>
      </dsp:txBody>
      <dsp:txXfrm>
        <a:off x="1645489" y="0"/>
        <a:ext cx="3059509" cy="1048704"/>
      </dsp:txXfrm>
    </dsp:sp>
    <dsp:sp modelId="{869D9061-673A-9142-9313-F0D8E79E6A61}">
      <dsp:nvSpPr>
        <dsp:cNvPr id="0" name=""/>
        <dsp:cNvSpPr/>
      </dsp:nvSpPr>
      <dsp:spPr>
        <a:xfrm>
          <a:off x="509396" y="1048704"/>
          <a:ext cx="2272186" cy="2272186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1011390"/>
                <a:satOff val="-2084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011390"/>
                <a:satOff val="-2084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011390"/>
                <a:satOff val="-2084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0CBB45-F7B7-4748-905B-A7C070B29A65}">
      <dsp:nvSpPr>
        <dsp:cNvPr id="0" name=""/>
        <dsp:cNvSpPr/>
      </dsp:nvSpPr>
      <dsp:spPr>
        <a:xfrm>
          <a:off x="1645734" y="1066791"/>
          <a:ext cx="6119018" cy="227218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1011390"/>
              <a:satOff val="-20841"/>
              <a:lumOff val="-529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Apic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ervice</a:t>
          </a:r>
          <a:r>
            <a:rPr lang="en-US" sz="1200" kern="1200" baseline="0" dirty="0" smtClean="0"/>
            <a:t> Overview</a:t>
          </a:r>
          <a:endParaRPr lang="en-US" sz="1200" kern="1200" dirty="0"/>
        </a:p>
      </dsp:txBody>
      <dsp:txXfrm>
        <a:off x="1645734" y="1066791"/>
        <a:ext cx="3059509" cy="1048701"/>
      </dsp:txXfrm>
    </dsp:sp>
    <dsp:sp modelId="{C77E8184-22AA-BF48-9F4F-9F90431F0C2E}">
      <dsp:nvSpPr>
        <dsp:cNvPr id="0" name=""/>
        <dsp:cNvSpPr/>
      </dsp:nvSpPr>
      <dsp:spPr>
        <a:xfrm>
          <a:off x="1121138" y="2097406"/>
          <a:ext cx="1048701" cy="1048701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2022780"/>
                <a:satOff val="-41682"/>
                <a:lumOff val="-105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2022780"/>
                <a:satOff val="-41682"/>
                <a:lumOff val="-105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2022780"/>
                <a:satOff val="-41682"/>
                <a:lumOff val="-105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6AD82A-C8F2-0F43-8E48-32DEF045C05D}">
      <dsp:nvSpPr>
        <dsp:cNvPr id="0" name=""/>
        <dsp:cNvSpPr/>
      </dsp:nvSpPr>
      <dsp:spPr>
        <a:xfrm>
          <a:off x="1645489" y="2032397"/>
          <a:ext cx="6119018" cy="117871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2022780"/>
              <a:satOff val="-41682"/>
              <a:lumOff val="-1058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baseline="0" dirty="0" smtClean="0"/>
            <a:t>Examples of deliveries </a:t>
          </a:r>
          <a:endParaRPr lang="en-US" sz="1200" kern="1200" dirty="0"/>
        </a:p>
      </dsp:txBody>
      <dsp:txXfrm>
        <a:off x="1645489" y="2032397"/>
        <a:ext cx="3059509" cy="1178719"/>
      </dsp:txXfrm>
    </dsp:sp>
    <dsp:sp modelId="{10932E85-D96A-2643-A3E2-A224C6357A9B}">
      <dsp:nvSpPr>
        <dsp:cNvPr id="0" name=""/>
        <dsp:cNvSpPr/>
      </dsp:nvSpPr>
      <dsp:spPr>
        <a:xfrm>
          <a:off x="4509174" y="0"/>
          <a:ext cx="3451157" cy="1048704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With Agile development and continues delivery the demand for various types of  run-time environments is critical. </a:t>
          </a:r>
        </a:p>
        <a:p>
          <a:pPr marL="57150" lvl="1" indent="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marR="0" lvl="1" indent="-57150" algn="l" defTabSz="48895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Char char="•"/>
            <a:tabLst/>
            <a:defRPr/>
          </a:pPr>
          <a:r>
            <a:rPr lang="en-US" sz="800" b="1" kern="1200" dirty="0" smtClean="0"/>
            <a:t>Reliable</a:t>
          </a:r>
          <a:r>
            <a:rPr lang="en-US" sz="800" b="1" kern="1200" baseline="0" dirty="0" smtClean="0"/>
            <a:t> and efficient procedures for provisioning of environments for development, testing, pre-production is needed</a:t>
          </a:r>
          <a:endParaRPr lang="en-US" sz="800" b="1" kern="1200" dirty="0"/>
        </a:p>
      </dsp:txBody>
      <dsp:txXfrm>
        <a:off x="4509174" y="0"/>
        <a:ext cx="3451157" cy="1048704"/>
      </dsp:txXfrm>
    </dsp:sp>
    <dsp:sp modelId="{AC96B1EE-5FF1-1E4D-BCA4-AFACA6BDB4CD}">
      <dsp:nvSpPr>
        <dsp:cNvPr id="0" name=""/>
        <dsp:cNvSpPr/>
      </dsp:nvSpPr>
      <dsp:spPr>
        <a:xfrm>
          <a:off x="4483107" y="1018565"/>
          <a:ext cx="3468902" cy="1048701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Setting up run-time environments for development and testing including infrastructure, OS layer, software, applications with valid test data.</a:t>
          </a:r>
        </a:p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 Using your preferred toolset and implement optimal level of automation</a:t>
          </a:r>
        </a:p>
      </dsp:txBody>
      <dsp:txXfrm>
        <a:off x="4483107" y="1018565"/>
        <a:ext cx="3468902" cy="1048701"/>
      </dsp:txXfrm>
    </dsp:sp>
    <dsp:sp modelId="{5A94B3F2-DDA0-CF47-9CB5-E42950A451A1}">
      <dsp:nvSpPr>
        <dsp:cNvPr id="0" name=""/>
        <dsp:cNvSpPr/>
      </dsp:nvSpPr>
      <dsp:spPr>
        <a:xfrm>
          <a:off x="4483107" y="1981199"/>
          <a:ext cx="3451157" cy="1048701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900" b="1" kern="1200" baseline="0" dirty="0" smtClean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Automated provisioning of test environmen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dirty="0" smtClean="0"/>
            <a:t>Automated</a:t>
          </a:r>
          <a:r>
            <a:rPr lang="en-US" sz="800" b="1" kern="1200" baseline="0" dirty="0" smtClean="0"/>
            <a:t> test data management for functional and load testing purpose. </a:t>
          </a:r>
          <a:r>
            <a:rPr lang="en-US" sz="800" b="1" kern="1200" baseline="0" dirty="0" err="1" smtClean="0"/>
            <a:t>Synthentical</a:t>
          </a:r>
          <a:r>
            <a:rPr lang="en-US" sz="800" b="1" kern="1200" baseline="0" dirty="0" smtClean="0"/>
            <a:t> data generation and  anonymization of  production data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dirty="0" smtClean="0"/>
            <a:t>Virtualization</a:t>
          </a:r>
          <a:r>
            <a:rPr lang="en-US" sz="800" b="1" kern="1200" baseline="0" dirty="0" smtClean="0"/>
            <a:t> of  depended external services.  Aka  Service Mockups or Service Virtualization</a:t>
          </a:r>
          <a:endParaRPr lang="en-US" sz="800" b="1" kern="1200" dirty="0" smtClean="0"/>
        </a:p>
      </dsp:txBody>
      <dsp:txXfrm>
        <a:off x="4483107" y="1981199"/>
        <a:ext cx="3451157" cy="10487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164253-072A-614F-903A-8D0150F8E534}">
      <dsp:nvSpPr>
        <dsp:cNvPr id="0" name=""/>
        <dsp:cNvSpPr/>
      </dsp:nvSpPr>
      <dsp:spPr>
        <a:xfrm>
          <a:off x="-9825" y="0"/>
          <a:ext cx="3653872" cy="3653872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A8A450-3A67-1641-B699-20902B4A23DF}">
      <dsp:nvSpPr>
        <dsp:cNvPr id="0" name=""/>
        <dsp:cNvSpPr/>
      </dsp:nvSpPr>
      <dsp:spPr>
        <a:xfrm>
          <a:off x="1816100" y="0"/>
          <a:ext cx="6313763" cy="365387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opic</a:t>
          </a:r>
          <a:r>
            <a:rPr lang="en-US" sz="1200" kern="1200" baseline="0" dirty="0" smtClean="0"/>
            <a:t> description</a:t>
          </a:r>
          <a:endParaRPr lang="en-US" sz="1200" kern="1200" dirty="0"/>
        </a:p>
      </dsp:txBody>
      <dsp:txXfrm>
        <a:off x="1816100" y="0"/>
        <a:ext cx="3156881" cy="1096163"/>
      </dsp:txXfrm>
    </dsp:sp>
    <dsp:sp modelId="{869D9061-673A-9142-9313-F0D8E79E6A61}">
      <dsp:nvSpPr>
        <dsp:cNvPr id="0" name=""/>
        <dsp:cNvSpPr/>
      </dsp:nvSpPr>
      <dsp:spPr>
        <a:xfrm>
          <a:off x="629602" y="1096163"/>
          <a:ext cx="2375014" cy="2375014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1011390"/>
                <a:satOff val="-20841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011390"/>
                <a:satOff val="-20841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011390"/>
                <a:satOff val="-20841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0CBB45-F7B7-4748-905B-A7C070B29A65}">
      <dsp:nvSpPr>
        <dsp:cNvPr id="0" name=""/>
        <dsp:cNvSpPr/>
      </dsp:nvSpPr>
      <dsp:spPr>
        <a:xfrm>
          <a:off x="1817110" y="1015674"/>
          <a:ext cx="6313763" cy="253599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1011390"/>
              <a:satOff val="-20841"/>
              <a:lumOff val="-529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he</a:t>
          </a:r>
          <a:r>
            <a:rPr lang="en-US" sz="1200" kern="1200" baseline="0" dirty="0" smtClean="0"/>
            <a:t> APM problem area</a:t>
          </a:r>
          <a:endParaRPr lang="en-US" sz="1200" kern="1200" dirty="0"/>
        </a:p>
      </dsp:txBody>
      <dsp:txXfrm>
        <a:off x="1817110" y="1015674"/>
        <a:ext cx="3156881" cy="1170458"/>
      </dsp:txXfrm>
    </dsp:sp>
    <dsp:sp modelId="{C77E8184-22AA-BF48-9F4F-9F90431F0C2E}">
      <dsp:nvSpPr>
        <dsp:cNvPr id="0" name=""/>
        <dsp:cNvSpPr/>
      </dsp:nvSpPr>
      <dsp:spPr>
        <a:xfrm>
          <a:off x="1269029" y="2192324"/>
          <a:ext cx="1096160" cy="1096160"/>
        </a:xfrm>
        <a:prstGeom prst="pie">
          <a:avLst>
            <a:gd name="adj1" fmla="val 5400000"/>
            <a:gd name="adj2" fmla="val 16200000"/>
          </a:avLst>
        </a:prstGeom>
        <a:gradFill rotWithShape="0">
          <a:gsLst>
            <a:gs pos="0">
              <a:schemeClr val="accent3">
                <a:hueOff val="-2022780"/>
                <a:satOff val="-41682"/>
                <a:lumOff val="-105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2022780"/>
                <a:satOff val="-41682"/>
                <a:lumOff val="-105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2022780"/>
                <a:satOff val="-41682"/>
                <a:lumOff val="-105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6AD82A-C8F2-0F43-8E48-32DEF045C05D}">
      <dsp:nvSpPr>
        <dsp:cNvPr id="0" name=""/>
        <dsp:cNvSpPr/>
      </dsp:nvSpPr>
      <dsp:spPr>
        <a:xfrm>
          <a:off x="1826936" y="2109443"/>
          <a:ext cx="6313763" cy="13216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-2022780"/>
              <a:satOff val="-41682"/>
              <a:lumOff val="-1058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ervice</a:t>
          </a:r>
          <a:r>
            <a:rPr lang="en-US" sz="1200" kern="1200" baseline="0" dirty="0" smtClean="0"/>
            <a:t> offering</a:t>
          </a:r>
          <a:endParaRPr lang="en-US" sz="1200" kern="1200" dirty="0"/>
        </a:p>
      </dsp:txBody>
      <dsp:txXfrm>
        <a:off x="1826936" y="2109443"/>
        <a:ext cx="3156881" cy="1321662"/>
      </dsp:txXfrm>
    </dsp:sp>
    <dsp:sp modelId="{10932E85-D96A-2643-A3E2-A224C6357A9B}">
      <dsp:nvSpPr>
        <dsp:cNvPr id="0" name=""/>
        <dsp:cNvSpPr/>
      </dsp:nvSpPr>
      <dsp:spPr>
        <a:xfrm>
          <a:off x="4940292" y="0"/>
          <a:ext cx="3196185" cy="1096163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Application Performance Management (APM) products are very popular for management of modern web and mobile application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Monitors the applications from a business transaction perspective and with strong capabilities for root-cause analysis. </a:t>
          </a:r>
          <a:endParaRPr lang="en-US" sz="800" b="1" kern="1200" dirty="0"/>
        </a:p>
      </dsp:txBody>
      <dsp:txXfrm>
        <a:off x="4940292" y="0"/>
        <a:ext cx="3196185" cy="1096163"/>
      </dsp:txXfrm>
    </dsp:sp>
    <dsp:sp modelId="{AC96B1EE-5FF1-1E4D-BCA4-AFACA6BDB4CD}">
      <dsp:nvSpPr>
        <dsp:cNvPr id="0" name=""/>
        <dsp:cNvSpPr/>
      </dsp:nvSpPr>
      <dsp:spPr>
        <a:xfrm>
          <a:off x="4983818" y="996391"/>
          <a:ext cx="3156881" cy="109616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marR="0" lvl="1" indent="-57150" algn="l" defTabSz="3556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Char char="•"/>
            <a:tabLst/>
            <a:defRPr/>
          </a:pPr>
          <a:endParaRPr lang="en-US" sz="800" kern="1200" dirty="0"/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The challenge is the need of an owner and a team which supports the stakeholder who will benefit from the value of the APM solution.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The main stakeholders are application owners, operations, development and test.</a:t>
          </a:r>
        </a:p>
      </dsp:txBody>
      <dsp:txXfrm>
        <a:off x="4983818" y="996391"/>
        <a:ext cx="3156881" cy="1096160"/>
      </dsp:txXfrm>
    </dsp:sp>
    <dsp:sp modelId="{5A94B3F2-DDA0-CF47-9CB5-E42950A451A1}">
      <dsp:nvSpPr>
        <dsp:cNvPr id="0" name=""/>
        <dsp:cNvSpPr/>
      </dsp:nvSpPr>
      <dsp:spPr>
        <a:xfrm>
          <a:off x="4973992" y="2192324"/>
          <a:ext cx="3156881" cy="109616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Optimize the value of the APM investment with a Managed Services approach for APM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b="1" kern="1200" baseline="0" dirty="0" smtClean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1" kern="1200" baseline="0" dirty="0" smtClean="0"/>
            <a:t>We operate and further develops the APM solution and its value including on-going operations, deployment, report creation, alert management, dashboard creation etcetera.</a:t>
          </a:r>
        </a:p>
      </dsp:txBody>
      <dsp:txXfrm>
        <a:off x="4973992" y="2192324"/>
        <a:ext cx="3156881" cy="10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3B187C-D463-9E4D-85BA-AC6623BF0B2C}" type="datetimeFigureOut">
              <a:rPr lang="en-US" smtClean="0"/>
              <a:t>2/21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819E02-0D66-FC49-8BF3-97FBE79EE3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30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F2C48F-EF3E-40D1-9D39-B24724C0E9D9}" type="datetimeFigureOut">
              <a:rPr lang="en-IN" smtClean="0"/>
              <a:pPr/>
              <a:t>21/02/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A5DA7-8B79-4212-875F-7801EAA6CA6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2724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08742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979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9889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58066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264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55188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67688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05734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278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30844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9200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44728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78767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2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4373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3738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0461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3580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11553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5905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5916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A5DA7-8B79-4212-875F-7801EAA6CA60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9262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3.emf"/><Relationship Id="rId8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E3710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101" name="Freeform 100"/>
          <p:cNvSpPr/>
          <p:nvPr userDrawn="1"/>
        </p:nvSpPr>
        <p:spPr bwMode="auto">
          <a:xfrm>
            <a:off x="6644155" y="3861598"/>
            <a:ext cx="917296" cy="1281903"/>
          </a:xfrm>
          <a:custGeom>
            <a:avLst/>
            <a:gdLst>
              <a:gd name="connsiteX0" fmla="*/ 273089 w 917296"/>
              <a:gd name="connsiteY0" fmla="*/ 0 h 1281903"/>
              <a:gd name="connsiteX1" fmla="*/ 917296 w 917296"/>
              <a:gd name="connsiteY1" fmla="*/ 1280411 h 1281903"/>
              <a:gd name="connsiteX2" fmla="*/ 916863 w 917296"/>
              <a:gd name="connsiteY2" fmla="*/ 1281903 h 1281903"/>
              <a:gd name="connsiteX3" fmla="*/ 632339 w 917296"/>
              <a:gd name="connsiteY3" fmla="*/ 1281903 h 1281903"/>
              <a:gd name="connsiteX4" fmla="*/ 0 w 917296"/>
              <a:gd name="connsiteY4" fmla="*/ 644066 h 1281903"/>
              <a:gd name="connsiteX5" fmla="*/ 6027 w 917296"/>
              <a:gd name="connsiteY5" fmla="*/ 642391 h 1281903"/>
              <a:gd name="connsiteX6" fmla="*/ 74111 w 917296"/>
              <a:gd name="connsiteY6" fmla="*/ 487366 h 1281903"/>
              <a:gd name="connsiteX7" fmla="*/ 90281 w 917296"/>
              <a:gd name="connsiteY7" fmla="*/ 439726 h 128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7296" h="1281903">
                <a:moveTo>
                  <a:pt x="273089" y="0"/>
                </a:moveTo>
                <a:lnTo>
                  <a:pt x="917296" y="1280411"/>
                </a:lnTo>
                <a:lnTo>
                  <a:pt x="916863" y="1281903"/>
                </a:lnTo>
                <a:lnTo>
                  <a:pt x="632339" y="1281903"/>
                </a:lnTo>
                <a:lnTo>
                  <a:pt x="0" y="644066"/>
                </a:lnTo>
                <a:lnTo>
                  <a:pt x="6027" y="642391"/>
                </a:lnTo>
                <a:cubicBezTo>
                  <a:pt x="30954" y="596793"/>
                  <a:pt x="53202" y="543903"/>
                  <a:pt x="74111" y="487366"/>
                </a:cubicBezTo>
                <a:lnTo>
                  <a:pt x="90281" y="439726"/>
                </a:lnTo>
                <a:close/>
              </a:path>
            </a:pathLst>
          </a:custGeom>
          <a:solidFill>
            <a:srgbClr val="DE6E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54" name="Freeform 53"/>
          <p:cNvSpPr/>
          <p:nvPr userDrawn="1"/>
        </p:nvSpPr>
        <p:spPr bwMode="auto">
          <a:xfrm>
            <a:off x="2403134" y="3831413"/>
            <a:ext cx="4526658" cy="1292251"/>
          </a:xfrm>
          <a:custGeom>
            <a:avLst/>
            <a:gdLst>
              <a:gd name="connsiteX0" fmla="*/ 3355319 w 3355319"/>
              <a:gd name="connsiteY0" fmla="*/ 0 h 1226605"/>
              <a:gd name="connsiteX1" fmla="*/ 3045481 w 3355319"/>
              <a:gd name="connsiteY1" fmla="*/ 566777 h 1226605"/>
              <a:gd name="connsiteX2" fmla="*/ 670101 w 3355319"/>
              <a:gd name="connsiteY2" fmla="*/ 1226605 h 1226605"/>
              <a:gd name="connsiteX3" fmla="*/ 8451 w 3355319"/>
              <a:gd name="connsiteY3" fmla="*/ 1226605 h 1226605"/>
              <a:gd name="connsiteX4" fmla="*/ 0 w 3355319"/>
              <a:gd name="connsiteY4" fmla="*/ 1194010 h 1226605"/>
              <a:gd name="connsiteX0" fmla="*/ 4556886 w 4556886"/>
              <a:gd name="connsiteY0" fmla="*/ 0 h 1226605"/>
              <a:gd name="connsiteX1" fmla="*/ 4247048 w 4556886"/>
              <a:gd name="connsiteY1" fmla="*/ 566777 h 1226605"/>
              <a:gd name="connsiteX2" fmla="*/ 1871668 w 4556886"/>
              <a:gd name="connsiteY2" fmla="*/ 1226605 h 1226605"/>
              <a:gd name="connsiteX3" fmla="*/ 1210018 w 4556886"/>
              <a:gd name="connsiteY3" fmla="*/ 1226605 h 1226605"/>
              <a:gd name="connsiteX4" fmla="*/ 0 w 4556886"/>
              <a:gd name="connsiteY4" fmla="*/ 1186453 h 1226605"/>
              <a:gd name="connsiteX5" fmla="*/ 4556886 w 4556886"/>
              <a:gd name="connsiteY5" fmla="*/ 0 h 1226605"/>
              <a:gd name="connsiteX0" fmla="*/ 4526658 w 4526658"/>
              <a:gd name="connsiteY0" fmla="*/ 0 h 1332403"/>
              <a:gd name="connsiteX1" fmla="*/ 4247048 w 4526658"/>
              <a:gd name="connsiteY1" fmla="*/ 672575 h 1332403"/>
              <a:gd name="connsiteX2" fmla="*/ 1871668 w 4526658"/>
              <a:gd name="connsiteY2" fmla="*/ 1332403 h 1332403"/>
              <a:gd name="connsiteX3" fmla="*/ 1210018 w 4526658"/>
              <a:gd name="connsiteY3" fmla="*/ 1332403 h 1332403"/>
              <a:gd name="connsiteX4" fmla="*/ 0 w 4526658"/>
              <a:gd name="connsiteY4" fmla="*/ 1292251 h 1332403"/>
              <a:gd name="connsiteX5" fmla="*/ 4526658 w 4526658"/>
              <a:gd name="connsiteY5" fmla="*/ 0 h 1332403"/>
              <a:gd name="connsiteX0" fmla="*/ 4526658 w 4526658"/>
              <a:gd name="connsiteY0" fmla="*/ 0 h 1332403"/>
              <a:gd name="connsiteX1" fmla="*/ 4247048 w 4526658"/>
              <a:gd name="connsiteY1" fmla="*/ 672575 h 1332403"/>
              <a:gd name="connsiteX2" fmla="*/ 1871668 w 4526658"/>
              <a:gd name="connsiteY2" fmla="*/ 1332403 h 1332403"/>
              <a:gd name="connsiteX3" fmla="*/ 0 w 4526658"/>
              <a:gd name="connsiteY3" fmla="*/ 1292251 h 1332403"/>
              <a:gd name="connsiteX4" fmla="*/ 4526658 w 4526658"/>
              <a:gd name="connsiteY4" fmla="*/ 0 h 1332403"/>
              <a:gd name="connsiteX0" fmla="*/ 4526658 w 4526658"/>
              <a:gd name="connsiteY0" fmla="*/ 0 h 1292251"/>
              <a:gd name="connsiteX1" fmla="*/ 4247048 w 4526658"/>
              <a:gd name="connsiteY1" fmla="*/ 672575 h 1292251"/>
              <a:gd name="connsiteX2" fmla="*/ 0 w 4526658"/>
              <a:gd name="connsiteY2" fmla="*/ 1292251 h 1292251"/>
              <a:gd name="connsiteX3" fmla="*/ 4526658 w 4526658"/>
              <a:gd name="connsiteY3" fmla="*/ 0 h 1292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6658" h="1292251">
                <a:moveTo>
                  <a:pt x="4526658" y="0"/>
                </a:moveTo>
                <a:lnTo>
                  <a:pt x="4247048" y="672575"/>
                </a:lnTo>
                <a:lnTo>
                  <a:pt x="0" y="1292251"/>
                </a:lnTo>
                <a:cubicBezTo>
                  <a:pt x="1118440" y="894248"/>
                  <a:pt x="3408218" y="398003"/>
                  <a:pt x="4526658" y="0"/>
                </a:cubicBezTo>
                <a:close/>
              </a:path>
            </a:pathLst>
          </a:custGeom>
          <a:solidFill>
            <a:srgbClr val="D06600">
              <a:alpha val="59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55" name="Freeform 54"/>
          <p:cNvSpPr/>
          <p:nvPr userDrawn="1"/>
        </p:nvSpPr>
        <p:spPr bwMode="auto">
          <a:xfrm>
            <a:off x="4914901" y="1048"/>
            <a:ext cx="2264019" cy="745712"/>
          </a:xfrm>
          <a:custGeom>
            <a:avLst/>
            <a:gdLst>
              <a:gd name="connsiteX0" fmla="*/ 1504087 w 2264019"/>
              <a:gd name="connsiteY0" fmla="*/ 0 h 745712"/>
              <a:gd name="connsiteX1" fmla="*/ 2264019 w 2264019"/>
              <a:gd name="connsiteY1" fmla="*/ 0 h 745712"/>
              <a:gd name="connsiteX2" fmla="*/ 1897380 w 2264019"/>
              <a:gd name="connsiteY2" fmla="*/ 471392 h 745712"/>
              <a:gd name="connsiteX3" fmla="*/ 0 w 2264019"/>
              <a:gd name="connsiteY3" fmla="*/ 745712 h 745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4019" h="745712">
                <a:moveTo>
                  <a:pt x="1504087" y="0"/>
                </a:moveTo>
                <a:lnTo>
                  <a:pt x="2264019" y="0"/>
                </a:lnTo>
                <a:lnTo>
                  <a:pt x="1897380" y="471392"/>
                </a:lnTo>
                <a:lnTo>
                  <a:pt x="0" y="745712"/>
                </a:lnTo>
                <a:close/>
              </a:path>
            </a:pathLst>
          </a:custGeom>
          <a:solidFill>
            <a:srgbClr val="DC6D0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105" name="Freeform 104"/>
          <p:cNvSpPr/>
          <p:nvPr userDrawn="1"/>
        </p:nvSpPr>
        <p:spPr bwMode="auto">
          <a:xfrm>
            <a:off x="7688019" y="1638302"/>
            <a:ext cx="728875" cy="3505199"/>
          </a:xfrm>
          <a:custGeom>
            <a:avLst/>
            <a:gdLst>
              <a:gd name="connsiteX0" fmla="*/ 247962 w 728875"/>
              <a:gd name="connsiteY0" fmla="*/ 21337 h 3505199"/>
              <a:gd name="connsiteX1" fmla="*/ 702326 w 728875"/>
              <a:gd name="connsiteY1" fmla="*/ 1771831 h 3505199"/>
              <a:gd name="connsiteX2" fmla="*/ 728875 w 728875"/>
              <a:gd name="connsiteY2" fmla="*/ 1806378 h 3505199"/>
              <a:gd name="connsiteX3" fmla="*/ 241321 w 728875"/>
              <a:gd name="connsiteY3" fmla="*/ 3505199 h 3505199"/>
              <a:gd name="connsiteX4" fmla="*/ 0 w 728875"/>
              <a:gd name="connsiteY4" fmla="*/ 3505199 h 3505199"/>
              <a:gd name="connsiteX5" fmla="*/ 249480 w 728875"/>
              <a:gd name="connsiteY5" fmla="*/ 0 h 3505199"/>
              <a:gd name="connsiteX6" fmla="*/ 253544 w 728875"/>
              <a:gd name="connsiteY6" fmla="*/ 4877 h 3505199"/>
              <a:gd name="connsiteX7" fmla="*/ 249037 w 728875"/>
              <a:gd name="connsiteY7" fmla="*/ 6229 h 350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875" h="3505199">
                <a:moveTo>
                  <a:pt x="247962" y="21337"/>
                </a:moveTo>
                <a:lnTo>
                  <a:pt x="702326" y="1771831"/>
                </a:lnTo>
                <a:lnTo>
                  <a:pt x="728875" y="1806378"/>
                </a:lnTo>
                <a:lnTo>
                  <a:pt x="241321" y="3505199"/>
                </a:lnTo>
                <a:lnTo>
                  <a:pt x="0" y="3505199"/>
                </a:lnTo>
                <a:close/>
                <a:moveTo>
                  <a:pt x="249480" y="0"/>
                </a:moveTo>
                <a:lnTo>
                  <a:pt x="253544" y="4877"/>
                </a:lnTo>
                <a:lnTo>
                  <a:pt x="249037" y="6229"/>
                </a:lnTo>
                <a:close/>
              </a:path>
            </a:pathLst>
          </a:custGeom>
          <a:solidFill>
            <a:srgbClr val="CF6500">
              <a:alpha val="72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0" name="Freeform 59"/>
          <p:cNvSpPr/>
          <p:nvPr userDrawn="1"/>
        </p:nvSpPr>
        <p:spPr bwMode="auto">
          <a:xfrm>
            <a:off x="1" y="1269245"/>
            <a:ext cx="663989" cy="1899828"/>
          </a:xfrm>
          <a:custGeom>
            <a:avLst/>
            <a:gdLst>
              <a:gd name="connsiteX0" fmla="*/ 663989 w 663989"/>
              <a:gd name="connsiteY0" fmla="*/ 1546022 h 1899828"/>
              <a:gd name="connsiteX1" fmla="*/ 663787 w 663989"/>
              <a:gd name="connsiteY1" fmla="*/ 1562008 h 1899828"/>
              <a:gd name="connsiteX2" fmla="*/ 659725 w 663989"/>
              <a:gd name="connsiteY2" fmla="*/ 1564076 h 1899828"/>
              <a:gd name="connsiteX3" fmla="*/ 0 w 663989"/>
              <a:gd name="connsiteY3" fmla="*/ 0 h 1899828"/>
              <a:gd name="connsiteX4" fmla="*/ 653539 w 663989"/>
              <a:gd name="connsiteY4" fmla="*/ 1567224 h 1899828"/>
              <a:gd name="connsiteX5" fmla="*/ 0 w 663989"/>
              <a:gd name="connsiteY5" fmla="*/ 1899828 h 1899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3989" h="1899828">
                <a:moveTo>
                  <a:pt x="663989" y="1546022"/>
                </a:moveTo>
                <a:lnTo>
                  <a:pt x="663787" y="1562008"/>
                </a:lnTo>
                <a:lnTo>
                  <a:pt x="659725" y="1564076"/>
                </a:lnTo>
                <a:close/>
                <a:moveTo>
                  <a:pt x="0" y="0"/>
                </a:moveTo>
                <a:lnTo>
                  <a:pt x="653539" y="1567224"/>
                </a:lnTo>
                <a:lnTo>
                  <a:pt x="0" y="1899828"/>
                </a:lnTo>
                <a:close/>
              </a:path>
            </a:pathLst>
          </a:custGeom>
          <a:solidFill>
            <a:srgbClr val="C16001">
              <a:alpha val="88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91" name="Freeform 90"/>
          <p:cNvSpPr/>
          <p:nvPr userDrawn="1"/>
        </p:nvSpPr>
        <p:spPr bwMode="auto">
          <a:xfrm>
            <a:off x="0" y="469989"/>
            <a:ext cx="826347" cy="746140"/>
          </a:xfrm>
          <a:custGeom>
            <a:avLst/>
            <a:gdLst>
              <a:gd name="connsiteX0" fmla="*/ 0 w 826347"/>
              <a:gd name="connsiteY0" fmla="*/ 0 h 746140"/>
              <a:gd name="connsiteX1" fmla="*/ 826347 w 826347"/>
              <a:gd name="connsiteY1" fmla="*/ 715344 h 746140"/>
              <a:gd name="connsiteX2" fmla="*/ 0 w 826347"/>
              <a:gd name="connsiteY2" fmla="*/ 746140 h 74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6347" h="746140">
                <a:moveTo>
                  <a:pt x="0" y="0"/>
                </a:moveTo>
                <a:lnTo>
                  <a:pt x="826347" y="715344"/>
                </a:lnTo>
                <a:lnTo>
                  <a:pt x="0" y="746140"/>
                </a:lnTo>
                <a:close/>
              </a:path>
            </a:pathLst>
          </a:custGeom>
          <a:solidFill>
            <a:srgbClr val="B259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2" name="Freeform 61"/>
          <p:cNvSpPr/>
          <p:nvPr userDrawn="1"/>
        </p:nvSpPr>
        <p:spPr bwMode="auto">
          <a:xfrm>
            <a:off x="666538" y="1923627"/>
            <a:ext cx="721995" cy="898471"/>
          </a:xfrm>
          <a:custGeom>
            <a:avLst/>
            <a:gdLst>
              <a:gd name="connsiteX0" fmla="*/ 0 w 731520"/>
              <a:gd name="connsiteY0" fmla="*/ 900853 h 900853"/>
              <a:gd name="connsiteX1" fmla="*/ 731520 w 731520"/>
              <a:gd name="connsiteY1" fmla="*/ 0 h 900853"/>
              <a:gd name="connsiteX2" fmla="*/ 209974 w 731520"/>
              <a:gd name="connsiteY2" fmla="*/ 67733 h 900853"/>
              <a:gd name="connsiteX3" fmla="*/ 0 w 731520"/>
              <a:gd name="connsiteY3" fmla="*/ 900853 h 900853"/>
              <a:gd name="connsiteX0" fmla="*/ 0 w 731520"/>
              <a:gd name="connsiteY0" fmla="*/ 900853 h 900853"/>
              <a:gd name="connsiteX1" fmla="*/ 731520 w 731520"/>
              <a:gd name="connsiteY1" fmla="*/ 0 h 900853"/>
              <a:gd name="connsiteX2" fmla="*/ 205211 w 731520"/>
              <a:gd name="connsiteY2" fmla="*/ 58208 h 900853"/>
              <a:gd name="connsiteX3" fmla="*/ 0 w 731520"/>
              <a:gd name="connsiteY3" fmla="*/ 900853 h 900853"/>
              <a:gd name="connsiteX0" fmla="*/ 0 w 721995"/>
              <a:gd name="connsiteY0" fmla="*/ 898471 h 898471"/>
              <a:gd name="connsiteX1" fmla="*/ 721995 w 721995"/>
              <a:gd name="connsiteY1" fmla="*/ 0 h 898471"/>
              <a:gd name="connsiteX2" fmla="*/ 195686 w 721995"/>
              <a:gd name="connsiteY2" fmla="*/ 58208 h 898471"/>
              <a:gd name="connsiteX3" fmla="*/ 0 w 721995"/>
              <a:gd name="connsiteY3" fmla="*/ 898471 h 898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995" h="898471">
                <a:moveTo>
                  <a:pt x="0" y="898471"/>
                </a:moveTo>
                <a:lnTo>
                  <a:pt x="721995" y="0"/>
                </a:lnTo>
                <a:lnTo>
                  <a:pt x="195686" y="58208"/>
                </a:lnTo>
                <a:lnTo>
                  <a:pt x="0" y="898471"/>
                </a:lnTo>
                <a:close/>
              </a:path>
            </a:pathLst>
          </a:custGeom>
          <a:solidFill>
            <a:srgbClr val="C1600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3" name="Freeform 62"/>
          <p:cNvSpPr/>
          <p:nvPr userDrawn="1"/>
        </p:nvSpPr>
        <p:spPr bwMode="auto">
          <a:xfrm>
            <a:off x="8315326" y="1048"/>
            <a:ext cx="828675" cy="1532478"/>
          </a:xfrm>
          <a:custGeom>
            <a:avLst/>
            <a:gdLst>
              <a:gd name="connsiteX0" fmla="*/ 250932 w 828675"/>
              <a:gd name="connsiteY0" fmla="*/ 0 h 1532478"/>
              <a:gd name="connsiteX1" fmla="*/ 828675 w 828675"/>
              <a:gd name="connsiteY1" fmla="*/ 0 h 1532478"/>
              <a:gd name="connsiteX2" fmla="*/ 828675 w 828675"/>
              <a:gd name="connsiteY2" fmla="*/ 1145163 h 1532478"/>
              <a:gd name="connsiteX3" fmla="*/ 0 w 828675"/>
              <a:gd name="connsiteY3" fmla="*/ 1532478 h 1532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8675" h="1532478">
                <a:moveTo>
                  <a:pt x="250932" y="0"/>
                </a:moveTo>
                <a:lnTo>
                  <a:pt x="828675" y="0"/>
                </a:lnTo>
                <a:lnTo>
                  <a:pt x="828675" y="1145163"/>
                </a:lnTo>
                <a:lnTo>
                  <a:pt x="0" y="1532478"/>
                </a:lnTo>
                <a:close/>
              </a:path>
            </a:pathLst>
          </a:custGeom>
          <a:solidFill>
            <a:srgbClr val="D1670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4" name="Freeform 63"/>
          <p:cNvSpPr/>
          <p:nvPr userDrawn="1"/>
        </p:nvSpPr>
        <p:spPr bwMode="auto">
          <a:xfrm>
            <a:off x="6274647" y="460587"/>
            <a:ext cx="1132945" cy="2204455"/>
          </a:xfrm>
          <a:custGeom>
            <a:avLst/>
            <a:gdLst>
              <a:gd name="connsiteX0" fmla="*/ 501226 w 1083733"/>
              <a:gd name="connsiteY0" fmla="*/ 0 h 2187786"/>
              <a:gd name="connsiteX1" fmla="*/ 1083733 w 1083733"/>
              <a:gd name="connsiteY1" fmla="*/ 745066 h 2187786"/>
              <a:gd name="connsiteX2" fmla="*/ 0 w 1083733"/>
              <a:gd name="connsiteY2" fmla="*/ 2187786 h 2187786"/>
              <a:gd name="connsiteX3" fmla="*/ 501226 w 1083733"/>
              <a:gd name="connsiteY3" fmla="*/ 0 h 2187786"/>
              <a:gd name="connsiteX0" fmla="*/ 501226 w 1090083"/>
              <a:gd name="connsiteY0" fmla="*/ 0 h 2187786"/>
              <a:gd name="connsiteX1" fmla="*/ 1090083 w 1090083"/>
              <a:gd name="connsiteY1" fmla="*/ 729191 h 2187786"/>
              <a:gd name="connsiteX2" fmla="*/ 0 w 1090083"/>
              <a:gd name="connsiteY2" fmla="*/ 2187786 h 2187786"/>
              <a:gd name="connsiteX3" fmla="*/ 501226 w 1090083"/>
              <a:gd name="connsiteY3" fmla="*/ 0 h 2187786"/>
              <a:gd name="connsiteX0" fmla="*/ 501226 w 1094845"/>
              <a:gd name="connsiteY0" fmla="*/ 0 h 2187786"/>
              <a:gd name="connsiteX1" fmla="*/ 1094845 w 1094845"/>
              <a:gd name="connsiteY1" fmla="*/ 738716 h 2187786"/>
              <a:gd name="connsiteX2" fmla="*/ 0 w 1094845"/>
              <a:gd name="connsiteY2" fmla="*/ 2187786 h 2187786"/>
              <a:gd name="connsiteX3" fmla="*/ 501226 w 1094845"/>
              <a:gd name="connsiteY3" fmla="*/ 0 h 2187786"/>
              <a:gd name="connsiteX0" fmla="*/ 539326 w 1132945"/>
              <a:gd name="connsiteY0" fmla="*/ 0 h 2204455"/>
              <a:gd name="connsiteX1" fmla="*/ 1132945 w 1132945"/>
              <a:gd name="connsiteY1" fmla="*/ 738716 h 2204455"/>
              <a:gd name="connsiteX2" fmla="*/ 0 w 1132945"/>
              <a:gd name="connsiteY2" fmla="*/ 2204455 h 2204455"/>
              <a:gd name="connsiteX3" fmla="*/ 539326 w 1132945"/>
              <a:gd name="connsiteY3" fmla="*/ 0 h 2204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2945" h="2204455">
                <a:moveTo>
                  <a:pt x="539326" y="0"/>
                </a:moveTo>
                <a:lnTo>
                  <a:pt x="1132945" y="738716"/>
                </a:lnTo>
                <a:lnTo>
                  <a:pt x="0" y="2204455"/>
                </a:lnTo>
                <a:lnTo>
                  <a:pt x="539326" y="0"/>
                </a:lnTo>
                <a:close/>
              </a:path>
            </a:pathLst>
          </a:custGeom>
          <a:solidFill>
            <a:srgbClr val="DE6E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5" name="Freeform 64"/>
          <p:cNvSpPr/>
          <p:nvPr userDrawn="1"/>
        </p:nvSpPr>
        <p:spPr bwMode="auto">
          <a:xfrm>
            <a:off x="7932420" y="1531621"/>
            <a:ext cx="1211580" cy="2859215"/>
          </a:xfrm>
          <a:custGeom>
            <a:avLst/>
            <a:gdLst>
              <a:gd name="connsiteX0" fmla="*/ 381000 w 1211580"/>
              <a:gd name="connsiteY0" fmla="*/ 0 h 2859215"/>
              <a:gd name="connsiteX1" fmla="*/ 1211580 w 1211580"/>
              <a:gd name="connsiteY1" fmla="*/ 1376036 h 2859215"/>
              <a:gd name="connsiteX2" fmla="*/ 1211580 w 1211580"/>
              <a:gd name="connsiteY2" fmla="*/ 2859215 h 2859215"/>
              <a:gd name="connsiteX3" fmla="*/ 457925 w 1211580"/>
              <a:gd name="connsiteY3" fmla="*/ 1878511 h 2859215"/>
              <a:gd name="connsiteX4" fmla="*/ 0 w 1211580"/>
              <a:gd name="connsiteY4" fmla="*/ 114300 h 2859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1580" h="2859215">
                <a:moveTo>
                  <a:pt x="381000" y="0"/>
                </a:moveTo>
                <a:lnTo>
                  <a:pt x="1211580" y="1376036"/>
                </a:lnTo>
                <a:lnTo>
                  <a:pt x="1211580" y="2859215"/>
                </a:lnTo>
                <a:lnTo>
                  <a:pt x="457925" y="1878511"/>
                </a:lnTo>
                <a:lnTo>
                  <a:pt x="0" y="114300"/>
                </a:lnTo>
                <a:close/>
              </a:path>
            </a:pathLst>
          </a:custGeom>
          <a:solidFill>
            <a:srgbClr val="D16701">
              <a:alpha val="77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6" name="Freeform 65"/>
          <p:cNvSpPr/>
          <p:nvPr userDrawn="1"/>
        </p:nvSpPr>
        <p:spPr bwMode="auto">
          <a:xfrm>
            <a:off x="6271260" y="1196340"/>
            <a:ext cx="2036342" cy="1463040"/>
          </a:xfrm>
          <a:custGeom>
            <a:avLst/>
            <a:gdLst>
              <a:gd name="connsiteX0" fmla="*/ 1135380 w 1676400"/>
              <a:gd name="connsiteY0" fmla="*/ 0 h 1463040"/>
              <a:gd name="connsiteX1" fmla="*/ 1676400 w 1676400"/>
              <a:gd name="connsiteY1" fmla="*/ 449580 h 1463040"/>
              <a:gd name="connsiteX2" fmla="*/ 0 w 1676400"/>
              <a:gd name="connsiteY2" fmla="*/ 1463040 h 1463040"/>
              <a:gd name="connsiteX3" fmla="*/ 1135380 w 1676400"/>
              <a:gd name="connsiteY3" fmla="*/ 0 h 1463040"/>
              <a:gd name="connsiteX0" fmla="*/ 1135380 w 2031580"/>
              <a:gd name="connsiteY0" fmla="*/ 0 h 1463040"/>
              <a:gd name="connsiteX1" fmla="*/ 2031580 w 2031580"/>
              <a:gd name="connsiteY1" fmla="*/ 321111 h 1463040"/>
              <a:gd name="connsiteX2" fmla="*/ 0 w 2031580"/>
              <a:gd name="connsiteY2" fmla="*/ 1463040 h 1463040"/>
              <a:gd name="connsiteX3" fmla="*/ 1135380 w 2031580"/>
              <a:gd name="connsiteY3" fmla="*/ 0 h 1463040"/>
              <a:gd name="connsiteX0" fmla="*/ 1135380 w 2036342"/>
              <a:gd name="connsiteY0" fmla="*/ 0 h 1463040"/>
              <a:gd name="connsiteX1" fmla="*/ 2036342 w 2036342"/>
              <a:gd name="connsiteY1" fmla="*/ 333018 h 1463040"/>
              <a:gd name="connsiteX2" fmla="*/ 0 w 2036342"/>
              <a:gd name="connsiteY2" fmla="*/ 1463040 h 1463040"/>
              <a:gd name="connsiteX3" fmla="*/ 1135380 w 2036342"/>
              <a:gd name="connsiteY3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6342" h="1463040">
                <a:moveTo>
                  <a:pt x="1135380" y="0"/>
                </a:moveTo>
                <a:lnTo>
                  <a:pt x="2036342" y="333018"/>
                </a:lnTo>
                <a:lnTo>
                  <a:pt x="0" y="1463040"/>
                </a:lnTo>
                <a:lnTo>
                  <a:pt x="1135380" y="0"/>
                </a:lnTo>
                <a:close/>
              </a:path>
            </a:pathLst>
          </a:custGeom>
          <a:solidFill>
            <a:srgbClr val="D1670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103" name="Freeform 102"/>
          <p:cNvSpPr/>
          <p:nvPr userDrawn="1"/>
        </p:nvSpPr>
        <p:spPr bwMode="auto">
          <a:xfrm>
            <a:off x="6276975" y="1619251"/>
            <a:ext cx="1676400" cy="3524249"/>
          </a:xfrm>
          <a:custGeom>
            <a:avLst/>
            <a:gdLst>
              <a:gd name="connsiteX0" fmla="*/ 1676399 w 1676400"/>
              <a:gd name="connsiteY0" fmla="*/ 38100 h 3524249"/>
              <a:gd name="connsiteX1" fmla="*/ 1676400 w 1676400"/>
              <a:gd name="connsiteY1" fmla="*/ 38100 h 3524249"/>
              <a:gd name="connsiteX2" fmla="*/ 1676400 w 1676400"/>
              <a:gd name="connsiteY2" fmla="*/ 38101 h 3524249"/>
              <a:gd name="connsiteX3" fmla="*/ 1390650 w 1676400"/>
              <a:gd name="connsiteY3" fmla="*/ 0 h 3524249"/>
              <a:gd name="connsiteX4" fmla="*/ 1659331 w 1676400"/>
              <a:gd name="connsiteY4" fmla="*/ 35824 h 3524249"/>
              <a:gd name="connsiteX5" fmla="*/ 1411045 w 1676400"/>
              <a:gd name="connsiteY5" fmla="*/ 3524249 h 3524249"/>
              <a:gd name="connsiteX6" fmla="*/ 1285246 w 1676400"/>
              <a:gd name="connsiteY6" fmla="*/ 3524249 h 3524249"/>
              <a:gd name="connsiteX7" fmla="*/ 0 w 1676400"/>
              <a:gd name="connsiteY7" fmla="*/ 1035843 h 3524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76400" h="3524249">
                <a:moveTo>
                  <a:pt x="1676399" y="38100"/>
                </a:moveTo>
                <a:lnTo>
                  <a:pt x="1676400" y="38100"/>
                </a:lnTo>
                <a:lnTo>
                  <a:pt x="1676400" y="38101"/>
                </a:lnTo>
                <a:close/>
                <a:moveTo>
                  <a:pt x="1390650" y="0"/>
                </a:moveTo>
                <a:lnTo>
                  <a:pt x="1659331" y="35824"/>
                </a:lnTo>
                <a:lnTo>
                  <a:pt x="1411045" y="3524249"/>
                </a:lnTo>
                <a:lnTo>
                  <a:pt x="1285246" y="3524249"/>
                </a:lnTo>
                <a:lnTo>
                  <a:pt x="0" y="1035843"/>
                </a:lnTo>
                <a:close/>
              </a:path>
            </a:pathLst>
          </a:custGeom>
          <a:solidFill>
            <a:srgbClr val="D06600">
              <a:alpha val="59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99" name="Freeform 98"/>
          <p:cNvSpPr/>
          <p:nvPr userDrawn="1"/>
        </p:nvSpPr>
        <p:spPr bwMode="auto">
          <a:xfrm>
            <a:off x="1057997" y="1925412"/>
            <a:ext cx="1279524" cy="3218089"/>
          </a:xfrm>
          <a:custGeom>
            <a:avLst/>
            <a:gdLst>
              <a:gd name="connsiteX0" fmla="*/ 314735 w 1279524"/>
              <a:gd name="connsiteY0" fmla="*/ 0 h 3218089"/>
              <a:gd name="connsiteX1" fmla="*/ 1279524 w 1279524"/>
              <a:gd name="connsiteY1" fmla="*/ 3218089 h 3218089"/>
              <a:gd name="connsiteX2" fmla="*/ 0 w 1279524"/>
              <a:gd name="connsiteY2" fmla="*/ 3218089 h 3218089"/>
              <a:gd name="connsiteX3" fmla="*/ 23096 w 1279524"/>
              <a:gd name="connsiteY3" fmla="*/ 2981936 h 3218089"/>
              <a:gd name="connsiteX4" fmla="*/ 52829 w 1279524"/>
              <a:gd name="connsiteY4" fmla="*/ 3127497 h 3218089"/>
              <a:gd name="connsiteX5" fmla="*/ 316551 w 1279524"/>
              <a:gd name="connsiteY5" fmla="*/ 10432 h 3218089"/>
              <a:gd name="connsiteX6" fmla="*/ 314062 w 1279524"/>
              <a:gd name="connsiteY6" fmla="*/ 6880 h 3218089"/>
              <a:gd name="connsiteX7" fmla="*/ 314735 w 1279524"/>
              <a:gd name="connsiteY7" fmla="*/ 0 h 321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524" h="3218089">
                <a:moveTo>
                  <a:pt x="314735" y="0"/>
                </a:moveTo>
                <a:lnTo>
                  <a:pt x="1279524" y="3218089"/>
                </a:lnTo>
                <a:lnTo>
                  <a:pt x="0" y="3218089"/>
                </a:lnTo>
                <a:lnTo>
                  <a:pt x="23096" y="2981936"/>
                </a:lnTo>
                <a:lnTo>
                  <a:pt x="52829" y="3127497"/>
                </a:lnTo>
                <a:lnTo>
                  <a:pt x="316551" y="10432"/>
                </a:lnTo>
                <a:lnTo>
                  <a:pt x="314062" y="6880"/>
                </a:lnTo>
                <a:cubicBezTo>
                  <a:pt x="314286" y="4587"/>
                  <a:pt x="314511" y="2293"/>
                  <a:pt x="314735" y="0"/>
                </a:cubicBezTo>
                <a:close/>
              </a:path>
            </a:pathLst>
          </a:custGeom>
          <a:solidFill>
            <a:srgbClr val="C86200">
              <a:alpha val="51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69" name="Freeform 68"/>
          <p:cNvSpPr/>
          <p:nvPr userDrawn="1"/>
        </p:nvSpPr>
        <p:spPr bwMode="auto">
          <a:xfrm>
            <a:off x="0" y="2827783"/>
            <a:ext cx="663788" cy="739799"/>
          </a:xfrm>
          <a:custGeom>
            <a:avLst/>
            <a:gdLst>
              <a:gd name="connsiteX0" fmla="*/ 663788 w 663788"/>
              <a:gd name="connsiteY0" fmla="*/ 0 h 739799"/>
              <a:gd name="connsiteX1" fmla="*/ 647940 w 663788"/>
              <a:gd name="connsiteY1" fmla="*/ 21983 h 739799"/>
              <a:gd name="connsiteX2" fmla="*/ 0 w 663788"/>
              <a:gd name="connsiteY2" fmla="*/ 739799 h 739799"/>
              <a:gd name="connsiteX3" fmla="*/ 0 w 663788"/>
              <a:gd name="connsiteY3" fmla="*/ 337821 h 73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788" h="739799">
                <a:moveTo>
                  <a:pt x="663788" y="0"/>
                </a:moveTo>
                <a:lnTo>
                  <a:pt x="647940" y="21983"/>
                </a:lnTo>
                <a:lnTo>
                  <a:pt x="0" y="739799"/>
                </a:lnTo>
                <a:lnTo>
                  <a:pt x="0" y="337821"/>
                </a:lnTo>
                <a:close/>
              </a:path>
            </a:pathLst>
          </a:custGeom>
          <a:solidFill>
            <a:srgbClr val="AC5300">
              <a:alpha val="7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89" name="Freeform 88"/>
          <p:cNvSpPr/>
          <p:nvPr userDrawn="1"/>
        </p:nvSpPr>
        <p:spPr bwMode="auto">
          <a:xfrm>
            <a:off x="1" y="1027059"/>
            <a:ext cx="856343" cy="954036"/>
          </a:xfrm>
          <a:custGeom>
            <a:avLst/>
            <a:gdLst>
              <a:gd name="connsiteX0" fmla="*/ 844830 w 856343"/>
              <a:gd name="connsiteY0" fmla="*/ 160919 h 954036"/>
              <a:gd name="connsiteX1" fmla="*/ 856343 w 856343"/>
              <a:gd name="connsiteY1" fmla="*/ 163112 h 954036"/>
              <a:gd name="connsiteX2" fmla="*/ 856343 w 856343"/>
              <a:gd name="connsiteY2" fmla="*/ 176839 h 954036"/>
              <a:gd name="connsiteX3" fmla="*/ 0 w 856343"/>
              <a:gd name="connsiteY3" fmla="*/ 0 h 954036"/>
              <a:gd name="connsiteX4" fmla="*/ 833588 w 856343"/>
              <a:gd name="connsiteY4" fmla="*/ 158778 h 954036"/>
              <a:gd name="connsiteX5" fmla="*/ 856343 w 856343"/>
              <a:gd name="connsiteY5" fmla="*/ 841426 h 954036"/>
              <a:gd name="connsiteX6" fmla="*/ 856343 w 856343"/>
              <a:gd name="connsiteY6" fmla="*/ 954036 h 954036"/>
              <a:gd name="connsiteX7" fmla="*/ 0 w 856343"/>
              <a:gd name="connsiteY7" fmla="*/ 181396 h 954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6343" h="954036">
                <a:moveTo>
                  <a:pt x="844830" y="160919"/>
                </a:moveTo>
                <a:lnTo>
                  <a:pt x="856343" y="163112"/>
                </a:lnTo>
                <a:lnTo>
                  <a:pt x="856343" y="176839"/>
                </a:lnTo>
                <a:close/>
                <a:moveTo>
                  <a:pt x="0" y="0"/>
                </a:moveTo>
                <a:lnTo>
                  <a:pt x="833588" y="158778"/>
                </a:lnTo>
                <a:lnTo>
                  <a:pt x="856343" y="841426"/>
                </a:lnTo>
                <a:lnTo>
                  <a:pt x="856343" y="954036"/>
                </a:lnTo>
                <a:lnTo>
                  <a:pt x="0" y="181396"/>
                </a:lnTo>
                <a:close/>
              </a:path>
            </a:pathLst>
          </a:custGeom>
          <a:solidFill>
            <a:srgbClr val="C05F00">
              <a:alpha val="74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5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07" name="Freeform 106"/>
          <p:cNvSpPr/>
          <p:nvPr userDrawn="1"/>
        </p:nvSpPr>
        <p:spPr bwMode="auto">
          <a:xfrm>
            <a:off x="7929341" y="3444680"/>
            <a:ext cx="1214660" cy="1698821"/>
          </a:xfrm>
          <a:custGeom>
            <a:avLst/>
            <a:gdLst>
              <a:gd name="connsiteX0" fmla="*/ 487554 w 1214660"/>
              <a:gd name="connsiteY0" fmla="*/ 0 h 1698821"/>
              <a:gd name="connsiteX1" fmla="*/ 1214660 w 1214660"/>
              <a:gd name="connsiteY1" fmla="*/ 946157 h 1698821"/>
              <a:gd name="connsiteX2" fmla="*/ 1214660 w 1214660"/>
              <a:gd name="connsiteY2" fmla="*/ 1698821 h 1698821"/>
              <a:gd name="connsiteX3" fmla="*/ 0 w 1214660"/>
              <a:gd name="connsiteY3" fmla="*/ 1698821 h 1698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4660" h="1698821">
                <a:moveTo>
                  <a:pt x="487554" y="0"/>
                </a:moveTo>
                <a:lnTo>
                  <a:pt x="1214660" y="946157"/>
                </a:lnTo>
                <a:lnTo>
                  <a:pt x="1214660" y="1698821"/>
                </a:lnTo>
                <a:lnTo>
                  <a:pt x="0" y="1698821"/>
                </a:lnTo>
                <a:close/>
              </a:path>
            </a:pathLst>
          </a:custGeom>
          <a:solidFill>
            <a:srgbClr val="DE6E00">
              <a:alpha val="81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97" name="Freeform 96"/>
          <p:cNvSpPr/>
          <p:nvPr userDrawn="1"/>
        </p:nvSpPr>
        <p:spPr bwMode="auto">
          <a:xfrm>
            <a:off x="536089" y="2873474"/>
            <a:ext cx="606568" cy="2270026"/>
          </a:xfrm>
          <a:custGeom>
            <a:avLst/>
            <a:gdLst>
              <a:gd name="connsiteX0" fmla="*/ 129548 w 606568"/>
              <a:gd name="connsiteY0" fmla="*/ 0 h 2270026"/>
              <a:gd name="connsiteX1" fmla="*/ 574738 w 606568"/>
              <a:gd name="connsiteY1" fmla="*/ 2179433 h 2270026"/>
              <a:gd name="connsiteX2" fmla="*/ 606568 w 606568"/>
              <a:gd name="connsiteY2" fmla="*/ 2270026 h 2270026"/>
              <a:gd name="connsiteX3" fmla="*/ 0 w 606568"/>
              <a:gd name="connsiteY3" fmla="*/ 2270026 h 2270026"/>
              <a:gd name="connsiteX4" fmla="*/ 126392 w 606568"/>
              <a:gd name="connsiteY4" fmla="*/ 31082 h 227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568" h="2270026">
                <a:moveTo>
                  <a:pt x="129548" y="0"/>
                </a:moveTo>
                <a:lnTo>
                  <a:pt x="574738" y="2179433"/>
                </a:lnTo>
                <a:lnTo>
                  <a:pt x="606568" y="2270026"/>
                </a:lnTo>
                <a:lnTo>
                  <a:pt x="0" y="2270026"/>
                </a:lnTo>
                <a:lnTo>
                  <a:pt x="126392" y="31082"/>
                </a:lnTo>
                <a:close/>
              </a:path>
            </a:pathLst>
          </a:custGeom>
          <a:solidFill>
            <a:srgbClr val="C16001">
              <a:alpha val="88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5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95" name="Freeform 94"/>
          <p:cNvSpPr/>
          <p:nvPr userDrawn="1"/>
        </p:nvSpPr>
        <p:spPr bwMode="auto">
          <a:xfrm>
            <a:off x="0" y="2828926"/>
            <a:ext cx="666750" cy="2314575"/>
          </a:xfrm>
          <a:custGeom>
            <a:avLst/>
            <a:gdLst>
              <a:gd name="connsiteX0" fmla="*/ 666750 w 666750"/>
              <a:gd name="connsiteY0" fmla="*/ 0 h 2314575"/>
              <a:gd name="connsiteX1" fmla="*/ 536089 w 666750"/>
              <a:gd name="connsiteY1" fmla="*/ 2314575 h 2314575"/>
              <a:gd name="connsiteX2" fmla="*/ 286909 w 666750"/>
              <a:gd name="connsiteY2" fmla="*/ 2314575 h 2314575"/>
              <a:gd name="connsiteX3" fmla="*/ 0 w 666750"/>
              <a:gd name="connsiteY3" fmla="*/ 1796740 h 2314575"/>
              <a:gd name="connsiteX4" fmla="*/ 0 w 666750"/>
              <a:gd name="connsiteY4" fmla="*/ 738655 h 231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750" h="2314575">
                <a:moveTo>
                  <a:pt x="666750" y="0"/>
                </a:moveTo>
                <a:lnTo>
                  <a:pt x="536089" y="2314575"/>
                </a:lnTo>
                <a:lnTo>
                  <a:pt x="286909" y="2314575"/>
                </a:lnTo>
                <a:lnTo>
                  <a:pt x="0" y="1796740"/>
                </a:lnTo>
                <a:lnTo>
                  <a:pt x="0" y="738655"/>
                </a:lnTo>
                <a:close/>
              </a:path>
            </a:pathLst>
          </a:custGeom>
          <a:solidFill>
            <a:srgbClr val="B45900">
              <a:alpha val="8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74" name="Freeform 73"/>
          <p:cNvSpPr/>
          <p:nvPr userDrawn="1"/>
        </p:nvSpPr>
        <p:spPr bwMode="auto">
          <a:xfrm>
            <a:off x="842852" y="1049"/>
            <a:ext cx="2890199" cy="1930033"/>
          </a:xfrm>
          <a:custGeom>
            <a:avLst/>
            <a:gdLst>
              <a:gd name="connsiteX0" fmla="*/ 2506906 w 2890199"/>
              <a:gd name="connsiteY0" fmla="*/ 0 h 1930033"/>
              <a:gd name="connsiteX1" fmla="*/ 2890199 w 2890199"/>
              <a:gd name="connsiteY1" fmla="*/ 0 h 1930033"/>
              <a:gd name="connsiteX2" fmla="*/ 536460 w 2890199"/>
              <a:gd name="connsiteY2" fmla="*/ 1930033 h 1930033"/>
              <a:gd name="connsiteX3" fmla="*/ 0 w 2890199"/>
              <a:gd name="connsiteY3" fmla="*/ 1176051 h 193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0199" h="1930033">
                <a:moveTo>
                  <a:pt x="2506906" y="0"/>
                </a:moveTo>
                <a:lnTo>
                  <a:pt x="2890199" y="0"/>
                </a:lnTo>
                <a:lnTo>
                  <a:pt x="536460" y="1930033"/>
                </a:lnTo>
                <a:lnTo>
                  <a:pt x="0" y="1176051"/>
                </a:lnTo>
                <a:close/>
              </a:path>
            </a:pathLst>
          </a:custGeom>
          <a:solidFill>
            <a:srgbClr val="D16800">
              <a:alpha val="68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75" name="Freeform 74"/>
          <p:cNvSpPr/>
          <p:nvPr userDrawn="1"/>
        </p:nvSpPr>
        <p:spPr bwMode="auto">
          <a:xfrm>
            <a:off x="826347" y="1049"/>
            <a:ext cx="2643526" cy="1183439"/>
          </a:xfrm>
          <a:custGeom>
            <a:avLst/>
            <a:gdLst>
              <a:gd name="connsiteX0" fmla="*/ 574316 w 2643526"/>
              <a:gd name="connsiteY0" fmla="*/ 0 h 1183439"/>
              <a:gd name="connsiteX1" fmla="*/ 2643526 w 2643526"/>
              <a:gd name="connsiteY1" fmla="*/ 0 h 1183439"/>
              <a:gd name="connsiteX2" fmla="*/ 0 w 2643526"/>
              <a:gd name="connsiteY2" fmla="*/ 1183439 h 118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43526" h="1183439">
                <a:moveTo>
                  <a:pt x="574316" y="0"/>
                </a:moveTo>
                <a:lnTo>
                  <a:pt x="2643526" y="0"/>
                </a:lnTo>
                <a:lnTo>
                  <a:pt x="0" y="1183439"/>
                </a:lnTo>
                <a:close/>
              </a:path>
            </a:pathLst>
          </a:custGeom>
          <a:solidFill>
            <a:srgbClr val="DF6E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76" name="Freeform 75"/>
          <p:cNvSpPr/>
          <p:nvPr userDrawn="1"/>
        </p:nvSpPr>
        <p:spPr bwMode="auto">
          <a:xfrm>
            <a:off x="657012" y="1177100"/>
            <a:ext cx="717536" cy="3875808"/>
          </a:xfrm>
          <a:custGeom>
            <a:avLst/>
            <a:gdLst>
              <a:gd name="connsiteX0" fmla="*/ 714470 w 717536"/>
              <a:gd name="connsiteY0" fmla="*/ 754368 h 3875808"/>
              <a:gd name="connsiteX1" fmla="*/ 717536 w 717536"/>
              <a:gd name="connsiteY1" fmla="*/ 758743 h 3875808"/>
              <a:gd name="connsiteX2" fmla="*/ 453814 w 717536"/>
              <a:gd name="connsiteY2" fmla="*/ 3875808 h 3875808"/>
              <a:gd name="connsiteX3" fmla="*/ 0 w 717536"/>
              <a:gd name="connsiteY3" fmla="*/ 1654154 h 3875808"/>
              <a:gd name="connsiteX4" fmla="*/ 209974 w 717536"/>
              <a:gd name="connsiteY4" fmla="*/ 821034 h 3875808"/>
              <a:gd name="connsiteX5" fmla="*/ 209392 w 717536"/>
              <a:gd name="connsiteY5" fmla="*/ 806844 h 3875808"/>
              <a:gd name="connsiteX6" fmla="*/ 185839 w 717536"/>
              <a:gd name="connsiteY6" fmla="*/ 0 h 3875808"/>
              <a:gd name="connsiteX7" fmla="*/ 369611 w 717536"/>
              <a:gd name="connsiteY7" fmla="*/ 262247 h 3875808"/>
              <a:gd name="connsiteX8" fmla="*/ 181391 w 717536"/>
              <a:gd name="connsiteY8" fmla="*/ 1991 h 38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36" h="3875808">
                <a:moveTo>
                  <a:pt x="714470" y="754368"/>
                </a:moveTo>
                <a:lnTo>
                  <a:pt x="717536" y="758743"/>
                </a:lnTo>
                <a:lnTo>
                  <a:pt x="453814" y="3875808"/>
                </a:lnTo>
                <a:lnTo>
                  <a:pt x="0" y="1654154"/>
                </a:lnTo>
                <a:lnTo>
                  <a:pt x="209974" y="821034"/>
                </a:lnTo>
                <a:lnTo>
                  <a:pt x="209392" y="806844"/>
                </a:lnTo>
                <a:close/>
                <a:moveTo>
                  <a:pt x="185839" y="0"/>
                </a:moveTo>
                <a:lnTo>
                  <a:pt x="369611" y="262247"/>
                </a:lnTo>
                <a:lnTo>
                  <a:pt x="181391" y="1991"/>
                </a:lnTo>
                <a:close/>
              </a:path>
            </a:pathLst>
          </a:custGeom>
          <a:solidFill>
            <a:srgbClr val="BE5D00">
              <a:alpha val="60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77" name="Freeform 76"/>
          <p:cNvSpPr/>
          <p:nvPr userDrawn="1"/>
        </p:nvSpPr>
        <p:spPr bwMode="auto">
          <a:xfrm>
            <a:off x="1352550" y="1752600"/>
            <a:ext cx="1238250" cy="1552575"/>
          </a:xfrm>
          <a:custGeom>
            <a:avLst/>
            <a:gdLst>
              <a:gd name="connsiteX0" fmla="*/ 1238250 w 1238250"/>
              <a:gd name="connsiteY0" fmla="*/ 1552575 h 1552575"/>
              <a:gd name="connsiteX1" fmla="*/ 0 w 1238250"/>
              <a:gd name="connsiteY1" fmla="*/ 180975 h 1552575"/>
              <a:gd name="connsiteX2" fmla="*/ 1181100 w 1238250"/>
              <a:gd name="connsiteY2" fmla="*/ 0 h 1552575"/>
              <a:gd name="connsiteX3" fmla="*/ 1238250 w 1238250"/>
              <a:gd name="connsiteY3" fmla="*/ 1552575 h 155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250" h="1552575">
                <a:moveTo>
                  <a:pt x="1238250" y="1552575"/>
                </a:moveTo>
                <a:lnTo>
                  <a:pt x="0" y="180975"/>
                </a:lnTo>
                <a:lnTo>
                  <a:pt x="1181100" y="0"/>
                </a:lnTo>
                <a:lnTo>
                  <a:pt x="1238250" y="1552575"/>
                </a:lnTo>
                <a:close/>
              </a:path>
            </a:pathLst>
          </a:custGeom>
          <a:solidFill>
            <a:srgbClr val="DE6E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>
              <a:solidFill>
                <a:schemeClr val="bg1"/>
              </a:solidFill>
            </a:endParaRPr>
          </a:p>
        </p:txBody>
      </p:sp>
      <p:sp>
        <p:nvSpPr>
          <p:cNvPr id="78" name="Freeform 77"/>
          <p:cNvSpPr/>
          <p:nvPr userDrawn="1"/>
        </p:nvSpPr>
        <p:spPr bwMode="auto">
          <a:xfrm>
            <a:off x="833120" y="1171787"/>
            <a:ext cx="548640" cy="812800"/>
          </a:xfrm>
          <a:custGeom>
            <a:avLst/>
            <a:gdLst>
              <a:gd name="connsiteX0" fmla="*/ 0 w 548640"/>
              <a:gd name="connsiteY0" fmla="*/ 0 h 812800"/>
              <a:gd name="connsiteX1" fmla="*/ 548640 w 548640"/>
              <a:gd name="connsiteY1" fmla="*/ 758613 h 812800"/>
              <a:gd name="connsiteX2" fmla="*/ 27093 w 548640"/>
              <a:gd name="connsiteY2" fmla="*/ 812800 h 812800"/>
              <a:gd name="connsiteX3" fmla="*/ 0 w 548640"/>
              <a:gd name="connsiteY3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640" h="812800">
                <a:moveTo>
                  <a:pt x="0" y="0"/>
                </a:moveTo>
                <a:lnTo>
                  <a:pt x="548640" y="758613"/>
                </a:lnTo>
                <a:lnTo>
                  <a:pt x="27093" y="812800"/>
                </a:lnTo>
                <a:lnTo>
                  <a:pt x="0" y="0"/>
                </a:lnTo>
                <a:close/>
              </a:path>
            </a:pathLst>
          </a:custGeom>
          <a:solidFill>
            <a:srgbClr val="C5630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109" name="Freeform 108"/>
          <p:cNvSpPr/>
          <p:nvPr userDrawn="1"/>
        </p:nvSpPr>
        <p:spPr bwMode="auto">
          <a:xfrm>
            <a:off x="1462587" y="0"/>
            <a:ext cx="6954098" cy="5151211"/>
          </a:xfrm>
          <a:custGeom>
            <a:avLst/>
            <a:gdLst>
              <a:gd name="connsiteX0" fmla="*/ 2328278 w 7063373"/>
              <a:gd name="connsiteY0" fmla="*/ 0 h 5151211"/>
              <a:gd name="connsiteX1" fmla="*/ 2801134 w 7063373"/>
              <a:gd name="connsiteY1" fmla="*/ 0 h 5151211"/>
              <a:gd name="connsiteX2" fmla="*/ 7063373 w 7063373"/>
              <a:gd name="connsiteY2" fmla="*/ 3440515 h 5151211"/>
              <a:gd name="connsiteX3" fmla="*/ 987425 w 7063373"/>
              <a:gd name="connsiteY3" fmla="*/ 5151211 h 5151211"/>
              <a:gd name="connsiteX4" fmla="*/ 0 w 7063373"/>
              <a:gd name="connsiteY4" fmla="*/ 1929610 h 5151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63373" h="5151211">
                <a:moveTo>
                  <a:pt x="2328278" y="0"/>
                </a:moveTo>
                <a:lnTo>
                  <a:pt x="2801134" y="0"/>
                </a:lnTo>
                <a:lnTo>
                  <a:pt x="7063373" y="3440515"/>
                </a:lnTo>
                <a:lnTo>
                  <a:pt x="987425" y="5151211"/>
                </a:lnTo>
                <a:lnTo>
                  <a:pt x="0" y="1929610"/>
                </a:lnTo>
                <a:close/>
              </a:path>
            </a:pathLst>
          </a:custGeom>
          <a:solidFill>
            <a:srgbClr val="4545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108" name="Freeform 107"/>
          <p:cNvSpPr/>
          <p:nvPr userDrawn="1"/>
        </p:nvSpPr>
        <p:spPr bwMode="auto">
          <a:xfrm>
            <a:off x="0" y="1208455"/>
            <a:ext cx="860213" cy="1636345"/>
          </a:xfrm>
          <a:custGeom>
            <a:avLst/>
            <a:gdLst>
              <a:gd name="connsiteX0" fmla="*/ 0 w 860213"/>
              <a:gd name="connsiteY0" fmla="*/ 0 h 1636345"/>
              <a:gd name="connsiteX1" fmla="*/ 860213 w 860213"/>
              <a:gd name="connsiteY1" fmla="*/ 776132 h 1636345"/>
              <a:gd name="connsiteX2" fmla="*/ 657013 w 860213"/>
              <a:gd name="connsiteY2" fmla="*/ 1636345 h 1636345"/>
              <a:gd name="connsiteX3" fmla="*/ 0 w 860213"/>
              <a:gd name="connsiteY3" fmla="*/ 60789 h 1636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213" h="1636345">
                <a:moveTo>
                  <a:pt x="0" y="0"/>
                </a:moveTo>
                <a:lnTo>
                  <a:pt x="860213" y="776132"/>
                </a:lnTo>
                <a:lnTo>
                  <a:pt x="657013" y="1636345"/>
                </a:lnTo>
                <a:lnTo>
                  <a:pt x="0" y="60789"/>
                </a:lnTo>
                <a:close/>
              </a:path>
            </a:pathLst>
          </a:custGeom>
          <a:solidFill>
            <a:srgbClr val="B55A01">
              <a:alpha val="39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87" name="Freeform 86"/>
          <p:cNvSpPr/>
          <p:nvPr userDrawn="1"/>
        </p:nvSpPr>
        <p:spPr bwMode="auto">
          <a:xfrm>
            <a:off x="0" y="0"/>
            <a:ext cx="2109018" cy="1476814"/>
          </a:xfrm>
          <a:custGeom>
            <a:avLst/>
            <a:gdLst>
              <a:gd name="connsiteX0" fmla="*/ 0 w 1871878"/>
              <a:gd name="connsiteY0" fmla="*/ 0 h 1476814"/>
              <a:gd name="connsiteX1" fmla="*/ 1279177 w 1871878"/>
              <a:gd name="connsiteY1" fmla="*/ 0 h 1476814"/>
              <a:gd name="connsiteX2" fmla="*/ 1871878 w 1871878"/>
              <a:gd name="connsiteY2" fmla="*/ 1233037 h 1476814"/>
              <a:gd name="connsiteX3" fmla="*/ 0 w 1871878"/>
              <a:gd name="connsiteY3" fmla="*/ 1476814 h 1476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71878" h="1476814">
                <a:moveTo>
                  <a:pt x="0" y="0"/>
                </a:moveTo>
                <a:lnTo>
                  <a:pt x="1279177" y="0"/>
                </a:lnTo>
                <a:lnTo>
                  <a:pt x="1871878" y="1233037"/>
                </a:lnTo>
                <a:lnTo>
                  <a:pt x="0" y="1476814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83" name="Freeform 82"/>
          <p:cNvSpPr/>
          <p:nvPr userDrawn="1"/>
        </p:nvSpPr>
        <p:spPr bwMode="auto">
          <a:xfrm>
            <a:off x="6817798" y="-15434"/>
            <a:ext cx="1494059" cy="1657995"/>
          </a:xfrm>
          <a:custGeom>
            <a:avLst/>
            <a:gdLst>
              <a:gd name="connsiteX0" fmla="*/ 373941 w 1484534"/>
              <a:gd name="connsiteY0" fmla="*/ 0 h 1657995"/>
              <a:gd name="connsiteX1" fmla="*/ 1484534 w 1484534"/>
              <a:gd name="connsiteY1" fmla="*/ 1530264 h 1657995"/>
              <a:gd name="connsiteX2" fmla="*/ 1470661 w 1484534"/>
              <a:gd name="connsiteY2" fmla="*/ 1554543 h 1657995"/>
              <a:gd name="connsiteX3" fmla="*/ 1125820 w 1484534"/>
              <a:gd name="connsiteY3" fmla="*/ 1657995 h 1657995"/>
              <a:gd name="connsiteX4" fmla="*/ 588842 w 1484534"/>
              <a:gd name="connsiteY4" fmla="*/ 1211774 h 1657995"/>
              <a:gd name="connsiteX5" fmla="*/ 588140 w 1484534"/>
              <a:gd name="connsiteY5" fmla="*/ 1212679 h 1657995"/>
              <a:gd name="connsiteX6" fmla="*/ 0 w 1484534"/>
              <a:gd name="connsiteY6" fmla="*/ 480781 h 1657995"/>
              <a:gd name="connsiteX0" fmla="*/ 373941 w 1484534"/>
              <a:gd name="connsiteY0" fmla="*/ 0 h 1657995"/>
              <a:gd name="connsiteX1" fmla="*/ 1484534 w 1484534"/>
              <a:gd name="connsiteY1" fmla="*/ 1530264 h 1657995"/>
              <a:gd name="connsiteX2" fmla="*/ 1125820 w 1484534"/>
              <a:gd name="connsiteY2" fmla="*/ 1657995 h 1657995"/>
              <a:gd name="connsiteX3" fmla="*/ 588842 w 1484534"/>
              <a:gd name="connsiteY3" fmla="*/ 1211774 h 1657995"/>
              <a:gd name="connsiteX4" fmla="*/ 588140 w 1484534"/>
              <a:gd name="connsiteY4" fmla="*/ 1212679 h 1657995"/>
              <a:gd name="connsiteX5" fmla="*/ 0 w 1484534"/>
              <a:gd name="connsiteY5" fmla="*/ 480781 h 1657995"/>
              <a:gd name="connsiteX6" fmla="*/ 373941 w 1484534"/>
              <a:gd name="connsiteY6" fmla="*/ 0 h 1657995"/>
              <a:gd name="connsiteX0" fmla="*/ 373941 w 1494059"/>
              <a:gd name="connsiteY0" fmla="*/ 0 h 1657995"/>
              <a:gd name="connsiteX1" fmla="*/ 1494059 w 1494059"/>
              <a:gd name="connsiteY1" fmla="*/ 1549314 h 1657995"/>
              <a:gd name="connsiteX2" fmla="*/ 1125820 w 1494059"/>
              <a:gd name="connsiteY2" fmla="*/ 1657995 h 1657995"/>
              <a:gd name="connsiteX3" fmla="*/ 588842 w 1494059"/>
              <a:gd name="connsiteY3" fmla="*/ 1211774 h 1657995"/>
              <a:gd name="connsiteX4" fmla="*/ 588140 w 1494059"/>
              <a:gd name="connsiteY4" fmla="*/ 1212679 h 1657995"/>
              <a:gd name="connsiteX5" fmla="*/ 0 w 1494059"/>
              <a:gd name="connsiteY5" fmla="*/ 480781 h 1657995"/>
              <a:gd name="connsiteX6" fmla="*/ 373941 w 1494059"/>
              <a:gd name="connsiteY6" fmla="*/ 0 h 1657995"/>
              <a:gd name="connsiteX0" fmla="*/ 373941 w 1494059"/>
              <a:gd name="connsiteY0" fmla="*/ 0 h 1657995"/>
              <a:gd name="connsiteX1" fmla="*/ 1494059 w 1494059"/>
              <a:gd name="connsiteY1" fmla="*/ 1549314 h 1657995"/>
              <a:gd name="connsiteX2" fmla="*/ 1125820 w 1494059"/>
              <a:gd name="connsiteY2" fmla="*/ 1657995 h 1657995"/>
              <a:gd name="connsiteX3" fmla="*/ 588842 w 1494059"/>
              <a:gd name="connsiteY3" fmla="*/ 1211774 h 1657995"/>
              <a:gd name="connsiteX4" fmla="*/ 588140 w 1494059"/>
              <a:gd name="connsiteY4" fmla="*/ 1212679 h 1657995"/>
              <a:gd name="connsiteX5" fmla="*/ 0 w 1494059"/>
              <a:gd name="connsiteY5" fmla="*/ 480781 h 1657995"/>
              <a:gd name="connsiteX6" fmla="*/ 373941 w 1494059"/>
              <a:gd name="connsiteY6" fmla="*/ 0 h 165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4059" h="1657995">
                <a:moveTo>
                  <a:pt x="373941" y="0"/>
                </a:moveTo>
                <a:lnTo>
                  <a:pt x="1494059" y="1549314"/>
                </a:lnTo>
                <a:lnTo>
                  <a:pt x="1125820" y="1657995"/>
                </a:lnTo>
                <a:lnTo>
                  <a:pt x="588842" y="1211774"/>
                </a:lnTo>
                <a:lnTo>
                  <a:pt x="588140" y="1212679"/>
                </a:lnTo>
                <a:lnTo>
                  <a:pt x="0" y="480781"/>
                </a:lnTo>
                <a:lnTo>
                  <a:pt x="373941" y="0"/>
                </a:lnTo>
                <a:close/>
              </a:path>
            </a:pathLst>
          </a:custGeom>
          <a:solidFill>
            <a:srgbClr val="D06600">
              <a:alpha val="59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 dirty="0"/>
          </a:p>
        </p:txBody>
      </p:sp>
      <p:sp>
        <p:nvSpPr>
          <p:cNvPr id="84" name="Freeform 83"/>
          <p:cNvSpPr/>
          <p:nvPr userDrawn="1"/>
        </p:nvSpPr>
        <p:spPr bwMode="auto">
          <a:xfrm>
            <a:off x="7203702" y="1048"/>
            <a:ext cx="1111623" cy="1531682"/>
          </a:xfrm>
          <a:custGeom>
            <a:avLst/>
            <a:gdLst>
              <a:gd name="connsiteX0" fmla="*/ 0 w 1111623"/>
              <a:gd name="connsiteY0" fmla="*/ 0 h 1531682"/>
              <a:gd name="connsiteX1" fmla="*/ 606243 w 1111623"/>
              <a:gd name="connsiteY1" fmla="*/ 0 h 1531682"/>
              <a:gd name="connsiteX2" fmla="*/ 1111623 w 1111623"/>
              <a:gd name="connsiteY2" fmla="*/ 1531682 h 1531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1623" h="1531682">
                <a:moveTo>
                  <a:pt x="0" y="0"/>
                </a:moveTo>
                <a:lnTo>
                  <a:pt x="606243" y="0"/>
                </a:lnTo>
                <a:lnTo>
                  <a:pt x="1111623" y="1531682"/>
                </a:lnTo>
                <a:close/>
              </a:path>
            </a:pathLst>
          </a:custGeom>
          <a:solidFill>
            <a:srgbClr val="D16701">
              <a:alpha val="82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85" name="Freeform 84"/>
          <p:cNvSpPr/>
          <p:nvPr userDrawn="1"/>
        </p:nvSpPr>
        <p:spPr bwMode="auto">
          <a:xfrm>
            <a:off x="8305619" y="1146210"/>
            <a:ext cx="838381" cy="1761446"/>
          </a:xfrm>
          <a:custGeom>
            <a:avLst/>
            <a:gdLst>
              <a:gd name="connsiteX0" fmla="*/ 838381 w 838381"/>
              <a:gd name="connsiteY0" fmla="*/ 0 h 1761446"/>
              <a:gd name="connsiteX1" fmla="*/ 838381 w 838381"/>
              <a:gd name="connsiteY1" fmla="*/ 1761446 h 1761446"/>
              <a:gd name="connsiteX2" fmla="*/ 7801 w 838381"/>
              <a:gd name="connsiteY2" fmla="*/ 385410 h 1761446"/>
              <a:gd name="connsiteX3" fmla="*/ 0 w 838381"/>
              <a:gd name="connsiteY3" fmla="*/ 387750 h 1761446"/>
              <a:gd name="connsiteX4" fmla="*/ 181 w 838381"/>
              <a:gd name="connsiteY4" fmla="*/ 377790 h 1761446"/>
              <a:gd name="connsiteX5" fmla="*/ 12375 w 838381"/>
              <a:gd name="connsiteY5" fmla="*/ 371016 h 1761446"/>
              <a:gd name="connsiteX6" fmla="*/ 9706 w 838381"/>
              <a:gd name="connsiteY6" fmla="*/ 387315 h 1761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8381" h="1761446">
                <a:moveTo>
                  <a:pt x="838381" y="0"/>
                </a:moveTo>
                <a:lnTo>
                  <a:pt x="838381" y="1761446"/>
                </a:lnTo>
                <a:lnTo>
                  <a:pt x="7801" y="385410"/>
                </a:lnTo>
                <a:lnTo>
                  <a:pt x="0" y="387750"/>
                </a:lnTo>
                <a:lnTo>
                  <a:pt x="181" y="377790"/>
                </a:lnTo>
                <a:lnTo>
                  <a:pt x="12375" y="371016"/>
                </a:lnTo>
                <a:lnTo>
                  <a:pt x="9706" y="387315"/>
                </a:lnTo>
                <a:close/>
              </a:path>
            </a:pathLst>
          </a:custGeom>
          <a:solidFill>
            <a:srgbClr val="D066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sp>
        <p:nvSpPr>
          <p:cNvPr id="86" name="Freeform 85"/>
          <p:cNvSpPr/>
          <p:nvPr userDrawn="1"/>
        </p:nvSpPr>
        <p:spPr bwMode="auto">
          <a:xfrm>
            <a:off x="7809945" y="1048"/>
            <a:ext cx="756313" cy="1532477"/>
          </a:xfrm>
          <a:custGeom>
            <a:avLst/>
            <a:gdLst>
              <a:gd name="connsiteX0" fmla="*/ 0 w 756313"/>
              <a:gd name="connsiteY0" fmla="*/ 0 h 1532477"/>
              <a:gd name="connsiteX1" fmla="*/ 756313 w 756313"/>
              <a:gd name="connsiteY1" fmla="*/ 0 h 1532477"/>
              <a:gd name="connsiteX2" fmla="*/ 505381 w 756313"/>
              <a:gd name="connsiteY2" fmla="*/ 1532477 h 1532477"/>
              <a:gd name="connsiteX3" fmla="*/ 504781 w 756313"/>
              <a:gd name="connsiteY3" fmla="*/ 1530856 h 1532477"/>
              <a:gd name="connsiteX4" fmla="*/ 505380 w 756313"/>
              <a:gd name="connsiteY4" fmla="*/ 1531682 h 1532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313" h="1532477">
                <a:moveTo>
                  <a:pt x="0" y="0"/>
                </a:moveTo>
                <a:lnTo>
                  <a:pt x="756313" y="0"/>
                </a:lnTo>
                <a:lnTo>
                  <a:pt x="505381" y="1532477"/>
                </a:lnTo>
                <a:lnTo>
                  <a:pt x="504781" y="1530856"/>
                </a:lnTo>
                <a:lnTo>
                  <a:pt x="505380" y="1531682"/>
                </a:lnTo>
                <a:close/>
              </a:path>
            </a:pathLst>
          </a:custGeom>
          <a:solidFill>
            <a:srgbClr val="D16701">
              <a:alpha val="78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sz="5600"/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2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1994199" y="2013898"/>
            <a:ext cx="4280239" cy="64893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90000"/>
              </a:lnSpc>
              <a:defRPr sz="36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244147" y="3748854"/>
            <a:ext cx="2650260" cy="309603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244147" y="4072032"/>
            <a:ext cx="2650260" cy="27432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 smtClean="0"/>
              <a:t>Date: mm/</a:t>
            </a:r>
            <a:r>
              <a:rPr lang="en-US" dirty="0" err="1" smtClean="0"/>
              <a:t>dd</a:t>
            </a:r>
            <a:r>
              <a:rPr lang="en-US" dirty="0" smtClean="0"/>
              <a:t>/</a:t>
            </a:r>
            <a:r>
              <a:rPr lang="en-US" dirty="0" err="1" smtClean="0"/>
              <a:t>y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1994198" y="2838588"/>
            <a:ext cx="4966505" cy="659226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41" name="Picture 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5536" y="704174"/>
            <a:ext cx="1662317" cy="483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1703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12763" indent="-228600">
              <a:defRPr/>
            </a:lvl2pPr>
            <a:lvl3pPr marL="803275" indent="-171450" defTabSz="5827713">
              <a:tabLst/>
              <a:defRPr/>
            </a:lvl3pPr>
            <a:lvl4pPr marL="1085850" indent="-171450">
              <a:defRPr/>
            </a:lvl4pPr>
            <a:lvl5pPr marL="1374775" indent="-17145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787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575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" userDrawn="1">
          <p15:clr>
            <a:srgbClr val="FBAE40"/>
          </p15:clr>
        </p15:guide>
        <p15:guide id="2" pos="192" userDrawn="1">
          <p15:clr>
            <a:srgbClr val="FBAE40"/>
          </p15:clr>
        </p15:guide>
        <p15:guide id="3" pos="5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987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48640"/>
          </a:xfrm>
          <a:prstGeom prst="rect">
            <a:avLst/>
          </a:prstGeom>
          <a:solidFill>
            <a:srgbClr val="5C5C5C"/>
          </a:solidFill>
          <a:ln w="6350" algn="ctr">
            <a:noFill/>
            <a:round/>
            <a:headEnd/>
            <a:tailEnd/>
          </a:ln>
          <a:effectLst/>
          <a:extLst/>
        </p:spPr>
        <p:txBody>
          <a:bodyPr wrap="square" rtlCol="0" anchor="ctr"/>
          <a:lstStyle/>
          <a:p>
            <a:pPr algn="ctr"/>
            <a:endParaRPr lang="sv-SE" sz="1800" dirty="0"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4594860"/>
            <a:ext cx="9144000" cy="548640"/>
          </a:xfrm>
          <a:prstGeom prst="rect">
            <a:avLst/>
          </a:prstGeom>
          <a:solidFill>
            <a:srgbClr val="5C5C5C"/>
          </a:solidFill>
          <a:ln w="6350" algn="ctr">
            <a:noFill/>
            <a:round/>
            <a:headEnd/>
            <a:tailEnd/>
          </a:ln>
          <a:effectLst/>
          <a:extLst/>
        </p:spPr>
        <p:txBody>
          <a:bodyPr wrap="square" rtlCol="0" anchor="ctr"/>
          <a:lstStyle/>
          <a:p>
            <a:pPr algn="ctr"/>
            <a:endParaRPr lang="sv-SE" sz="1800" dirty="0">
              <a:cs typeface="Arial" pitchFamily="34" charset="0"/>
            </a:endParaRPr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681209" y="78867"/>
            <a:ext cx="7900416" cy="390906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Sanchez" panose="020B0604020202020204" charset="0"/>
                <a:ea typeface="Open Sans" panose="020B0604020202020204" charset="0"/>
                <a:cs typeface="Open Sans" panose="020B060402020202020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pic>
        <p:nvPicPr>
          <p:cNvPr id="13" name="Picture 2" descr="Apic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081" y="4712696"/>
            <a:ext cx="1443830" cy="312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ruta 12"/>
          <p:cNvSpPr txBox="1"/>
          <p:nvPr userDrawn="1"/>
        </p:nvSpPr>
        <p:spPr>
          <a:xfrm>
            <a:off x="4385893" y="4765306"/>
            <a:ext cx="372217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08363" algn="ctr"/>
                <a:tab pos="6186488" algn="r"/>
              </a:tabLs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76CA1A38-9868-4722-888C-ED50359F18C1}" type="slidenum">
              <a:rPr lang="sv-SE" sz="1200" b="1" smtClean="0">
                <a:solidFill>
                  <a:schemeClr val="bg1"/>
                </a:solidFill>
                <a:latin typeface="+mn-lt"/>
                <a:cs typeface="75 Helvetica Bold"/>
              </a:rPr>
              <a:pPr algn="ctr" eaLnBrk="1" hangingPunct="1">
                <a:defRPr/>
              </a:pPr>
              <a:t>‹#›</a:t>
            </a:fld>
            <a:endParaRPr lang="sv-SE" sz="1000" b="1" dirty="0">
              <a:solidFill>
                <a:schemeClr val="bg1"/>
              </a:solidFill>
              <a:latin typeface="+mn-lt"/>
              <a:cs typeface="75 Helvetica Bold"/>
            </a:endParaRPr>
          </a:p>
        </p:txBody>
      </p:sp>
    </p:spTree>
    <p:extLst>
      <p:ext uri="{BB962C8B-B14F-4D97-AF65-F5344CB8AC3E}">
        <p14:creationId xmlns:p14="http://schemas.microsoft.com/office/powerpoint/2010/main" val="30643971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8B2DB34-2583-40B7-9A49-C192DE9AE737}" type="datetimeFigureOut">
              <a:rPr lang="en-GB" smtClean="0"/>
              <a:t>21/02/2017</a:t>
            </a:fld>
            <a:endParaRPr lang="en-GB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C09FCD0E-F4E8-4A93-8087-D36EC78AEE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1302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Title</a:t>
            </a:r>
            <a:endParaRPr lang="fr-FR" dirty="0"/>
          </a:p>
        </p:txBody>
      </p:sp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15938" y="1113235"/>
            <a:ext cx="8088312" cy="3511153"/>
          </a:xfrm>
        </p:spPr>
        <p:txBody>
          <a:bodyPr/>
          <a:lstStyle/>
          <a:p>
            <a:pPr lvl="0"/>
            <a:r>
              <a:rPr lang="en-GB" noProof="0" dirty="0" smtClean="0"/>
              <a:t>Text level one</a:t>
            </a:r>
          </a:p>
          <a:p>
            <a:pPr lvl="1"/>
            <a:r>
              <a:rPr lang="en-GB" noProof="0" dirty="0" smtClean="0"/>
              <a:t>Text level two</a:t>
            </a:r>
          </a:p>
          <a:p>
            <a:pPr lvl="2"/>
            <a:r>
              <a:rPr lang="en-GB" noProof="0" dirty="0" smtClean="0"/>
              <a:t>Text level three</a:t>
            </a:r>
          </a:p>
        </p:txBody>
      </p:sp>
      <p:sp>
        <p:nvSpPr>
          <p:cNvPr id="15" name="Plassholder for bunntekst 8"/>
          <p:cNvSpPr>
            <a:spLocks noGrp="1"/>
          </p:cNvSpPr>
          <p:nvPr>
            <p:ph type="ftr" sz="quarter" idx="3"/>
          </p:nvPr>
        </p:nvSpPr>
        <p:spPr>
          <a:xfrm>
            <a:off x="539552" y="4840002"/>
            <a:ext cx="2895600" cy="1620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rgbClr val="23232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6" name="Plassholder for lysbildenummer 9"/>
          <p:cNvSpPr>
            <a:spLocks noGrp="1"/>
          </p:cNvSpPr>
          <p:nvPr>
            <p:ph type="sldNum" sz="quarter" idx="4"/>
          </p:nvPr>
        </p:nvSpPr>
        <p:spPr>
          <a:xfrm>
            <a:off x="179512" y="4840003"/>
            <a:ext cx="333400" cy="1620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232323"/>
                </a:solidFill>
              </a:defRPr>
            </a:lvl1pPr>
          </a:lstStyle>
          <a:p>
            <a:fld id="{5279AF0B-2D84-CD41-8CAF-017061CB9833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094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image" Target="../media/image1.jpeg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auto">
          <a:xfrm>
            <a:off x="8666743" y="3367884"/>
            <a:ext cx="477256" cy="1391584"/>
          </a:xfrm>
          <a:custGeom>
            <a:avLst/>
            <a:gdLst>
              <a:gd name="connsiteX0" fmla="*/ 0 w 9144000"/>
              <a:gd name="connsiteY0" fmla="*/ 0 h 411510"/>
              <a:gd name="connsiteX1" fmla="*/ 9144000 w 9144000"/>
              <a:gd name="connsiteY1" fmla="*/ 0 h 411510"/>
              <a:gd name="connsiteX2" fmla="*/ 9144000 w 9144000"/>
              <a:gd name="connsiteY2" fmla="*/ 411510 h 411510"/>
              <a:gd name="connsiteX3" fmla="*/ 0 w 9144000"/>
              <a:gd name="connsiteY3" fmla="*/ 411510 h 411510"/>
              <a:gd name="connsiteX4" fmla="*/ 0 w 9144000"/>
              <a:gd name="connsiteY4" fmla="*/ 0 h 411510"/>
              <a:gd name="connsiteX0" fmla="*/ 0 w 9144000"/>
              <a:gd name="connsiteY0" fmla="*/ 4777740 h 5189250"/>
              <a:gd name="connsiteX1" fmla="*/ 9136380 w 9144000"/>
              <a:gd name="connsiteY1" fmla="*/ 0 h 5189250"/>
              <a:gd name="connsiteX2" fmla="*/ 9144000 w 9144000"/>
              <a:gd name="connsiteY2" fmla="*/ 5189250 h 5189250"/>
              <a:gd name="connsiteX3" fmla="*/ 0 w 9144000"/>
              <a:gd name="connsiteY3" fmla="*/ 5189250 h 5189250"/>
              <a:gd name="connsiteX4" fmla="*/ 0 w 9144000"/>
              <a:gd name="connsiteY4" fmla="*/ 4777740 h 5189250"/>
              <a:gd name="connsiteX0" fmla="*/ 0 w 9144000"/>
              <a:gd name="connsiteY0" fmla="*/ 4777740 h 5189250"/>
              <a:gd name="connsiteX1" fmla="*/ 9136380 w 9144000"/>
              <a:gd name="connsiteY1" fmla="*/ 0 h 5189250"/>
              <a:gd name="connsiteX2" fmla="*/ 9144000 w 9144000"/>
              <a:gd name="connsiteY2" fmla="*/ 5189250 h 5189250"/>
              <a:gd name="connsiteX3" fmla="*/ 0 w 9144000"/>
              <a:gd name="connsiteY3" fmla="*/ 4777740 h 5189250"/>
              <a:gd name="connsiteX0" fmla="*/ 0 w 4434840"/>
              <a:gd name="connsiteY0" fmla="*/ 5181600 h 5189250"/>
              <a:gd name="connsiteX1" fmla="*/ 4427220 w 4434840"/>
              <a:gd name="connsiteY1" fmla="*/ 0 h 5189250"/>
              <a:gd name="connsiteX2" fmla="*/ 4434840 w 4434840"/>
              <a:gd name="connsiteY2" fmla="*/ 5189250 h 5189250"/>
              <a:gd name="connsiteX3" fmla="*/ 0 w 4434840"/>
              <a:gd name="connsiteY3" fmla="*/ 5181600 h 518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4840" h="5189250">
                <a:moveTo>
                  <a:pt x="0" y="5181600"/>
                </a:moveTo>
                <a:lnTo>
                  <a:pt x="4427220" y="0"/>
                </a:lnTo>
                <a:lnTo>
                  <a:pt x="4434840" y="5189250"/>
                </a:lnTo>
                <a:lnTo>
                  <a:pt x="0" y="5181600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56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7" name="Rectangle 56"/>
          <p:cNvSpPr/>
          <p:nvPr userDrawn="1"/>
        </p:nvSpPr>
        <p:spPr>
          <a:xfrm>
            <a:off x="8199120" y="4654204"/>
            <a:ext cx="944880" cy="12020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8382000" y="-7143"/>
            <a:ext cx="762000" cy="4678728"/>
            <a:chOff x="8000995" y="-13493"/>
            <a:chExt cx="1143005" cy="4752528"/>
          </a:xfrm>
        </p:grpSpPr>
        <p:sp>
          <p:nvSpPr>
            <p:cNvPr id="35" name="Freeform 34"/>
            <p:cNvSpPr>
              <a:spLocks/>
            </p:cNvSpPr>
            <p:nvPr userDrawn="1"/>
          </p:nvSpPr>
          <p:spPr bwMode="auto">
            <a:xfrm flipH="1">
              <a:off x="8000998" y="-13493"/>
              <a:ext cx="1142999" cy="2778124"/>
            </a:xfrm>
            <a:custGeom>
              <a:avLst/>
              <a:gdLst>
                <a:gd name="connsiteX0" fmla="*/ 746760 w 746760"/>
                <a:gd name="connsiteY0" fmla="*/ 0 h 598949"/>
                <a:gd name="connsiteX1" fmla="*/ 0 w 746760"/>
                <a:gd name="connsiteY1" fmla="*/ 0 h 598949"/>
                <a:gd name="connsiteX2" fmla="*/ 0 w 746760"/>
                <a:gd name="connsiteY2" fmla="*/ 598949 h 59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6760" h="598949">
                  <a:moveTo>
                    <a:pt x="746760" y="0"/>
                  </a:moveTo>
                  <a:lnTo>
                    <a:pt x="0" y="0"/>
                  </a:lnTo>
                  <a:lnTo>
                    <a:pt x="0" y="598949"/>
                  </a:lnTo>
                  <a:close/>
                </a:path>
              </a:pathLst>
            </a:custGeom>
            <a:solidFill>
              <a:schemeClr val="tx2"/>
            </a:solidFill>
            <a:ln w="25400" cap="flat">
              <a:noFill/>
              <a:miter lim="800000"/>
              <a:headEnd type="none" w="med" len="med"/>
              <a:tailEnd type="none" w="med" len="med"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sym typeface="Gill Sans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 flipH="1">
              <a:off x="8184356" y="-13493"/>
              <a:ext cx="959644" cy="4752528"/>
            </a:xfrm>
            <a:custGeom>
              <a:avLst/>
              <a:gdLst>
                <a:gd name="connsiteX0" fmla="*/ 746760 w 746760"/>
                <a:gd name="connsiteY0" fmla="*/ 0 h 598949"/>
                <a:gd name="connsiteX1" fmla="*/ 0 w 746760"/>
                <a:gd name="connsiteY1" fmla="*/ 0 h 598949"/>
                <a:gd name="connsiteX2" fmla="*/ 0 w 746760"/>
                <a:gd name="connsiteY2" fmla="*/ 598949 h 59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6760" h="598949">
                  <a:moveTo>
                    <a:pt x="746760" y="0"/>
                  </a:moveTo>
                  <a:lnTo>
                    <a:pt x="0" y="0"/>
                  </a:lnTo>
                  <a:lnTo>
                    <a:pt x="0" y="598949"/>
                  </a:lnTo>
                  <a:close/>
                </a:path>
              </a:pathLst>
            </a:custGeom>
            <a:solidFill>
              <a:schemeClr val="tx2">
                <a:lumMod val="75000"/>
                <a:alpha val="82000"/>
              </a:schemeClr>
            </a:solidFill>
            <a:ln w="25400" cap="flat">
              <a:noFill/>
              <a:miter lim="800000"/>
              <a:headEnd type="none" w="med" len="med"/>
              <a:tailEnd type="none" w="med" len="med"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sym typeface="Gill Sans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 flipH="1">
              <a:off x="8428112" y="-13493"/>
              <a:ext cx="715888" cy="4752528"/>
            </a:xfrm>
            <a:custGeom>
              <a:avLst/>
              <a:gdLst>
                <a:gd name="connsiteX0" fmla="*/ 746760 w 746760"/>
                <a:gd name="connsiteY0" fmla="*/ 0 h 598949"/>
                <a:gd name="connsiteX1" fmla="*/ 0 w 746760"/>
                <a:gd name="connsiteY1" fmla="*/ 0 h 598949"/>
                <a:gd name="connsiteX2" fmla="*/ 0 w 746760"/>
                <a:gd name="connsiteY2" fmla="*/ 598949 h 59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6760" h="598949">
                  <a:moveTo>
                    <a:pt x="746760" y="0"/>
                  </a:moveTo>
                  <a:lnTo>
                    <a:pt x="0" y="0"/>
                  </a:lnTo>
                  <a:lnTo>
                    <a:pt x="0" y="598949"/>
                  </a:lnTo>
                  <a:close/>
                </a:path>
              </a:pathLst>
            </a:custGeom>
            <a:solidFill>
              <a:schemeClr val="tx2">
                <a:alpha val="46000"/>
              </a:schemeClr>
            </a:solidFill>
            <a:ln w="25400" cap="flat">
              <a:noFill/>
              <a:miter lim="800000"/>
              <a:headEnd type="none" w="med" len="med"/>
              <a:tailEnd type="none" w="med" len="med"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sym typeface="Gill Sans" charset="0"/>
              </a:endParaRPr>
            </a:p>
          </p:txBody>
        </p:sp>
        <p:sp>
          <p:nvSpPr>
            <p:cNvPr id="42" name="Rectangle 22"/>
            <p:cNvSpPr/>
            <p:nvPr userDrawn="1"/>
          </p:nvSpPr>
          <p:spPr bwMode="auto">
            <a:xfrm rot="10800000" flipH="1">
              <a:off x="8000995" y="-13493"/>
              <a:ext cx="1143005" cy="1478756"/>
            </a:xfrm>
            <a:custGeom>
              <a:avLst/>
              <a:gdLst>
                <a:gd name="connsiteX0" fmla="*/ 0 w 9144000"/>
                <a:gd name="connsiteY0" fmla="*/ 0 h 411510"/>
                <a:gd name="connsiteX1" fmla="*/ 9144000 w 9144000"/>
                <a:gd name="connsiteY1" fmla="*/ 0 h 411510"/>
                <a:gd name="connsiteX2" fmla="*/ 9144000 w 9144000"/>
                <a:gd name="connsiteY2" fmla="*/ 411510 h 411510"/>
                <a:gd name="connsiteX3" fmla="*/ 0 w 9144000"/>
                <a:gd name="connsiteY3" fmla="*/ 411510 h 411510"/>
                <a:gd name="connsiteX4" fmla="*/ 0 w 9144000"/>
                <a:gd name="connsiteY4" fmla="*/ 0 h 411510"/>
                <a:gd name="connsiteX0" fmla="*/ 0 w 9144000"/>
                <a:gd name="connsiteY0" fmla="*/ 4777740 h 5189250"/>
                <a:gd name="connsiteX1" fmla="*/ 9136380 w 9144000"/>
                <a:gd name="connsiteY1" fmla="*/ 0 h 5189250"/>
                <a:gd name="connsiteX2" fmla="*/ 9144000 w 9144000"/>
                <a:gd name="connsiteY2" fmla="*/ 5189250 h 5189250"/>
                <a:gd name="connsiteX3" fmla="*/ 0 w 9144000"/>
                <a:gd name="connsiteY3" fmla="*/ 5189250 h 5189250"/>
                <a:gd name="connsiteX4" fmla="*/ 0 w 9144000"/>
                <a:gd name="connsiteY4" fmla="*/ 4777740 h 5189250"/>
                <a:gd name="connsiteX0" fmla="*/ 0 w 9144000"/>
                <a:gd name="connsiteY0" fmla="*/ 4777740 h 5189250"/>
                <a:gd name="connsiteX1" fmla="*/ 9136380 w 9144000"/>
                <a:gd name="connsiteY1" fmla="*/ 0 h 5189250"/>
                <a:gd name="connsiteX2" fmla="*/ 9144000 w 9144000"/>
                <a:gd name="connsiteY2" fmla="*/ 5189250 h 5189250"/>
                <a:gd name="connsiteX3" fmla="*/ 0 w 9144000"/>
                <a:gd name="connsiteY3" fmla="*/ 4777740 h 5189250"/>
                <a:gd name="connsiteX0" fmla="*/ 0 w 4434840"/>
                <a:gd name="connsiteY0" fmla="*/ 5181600 h 5189250"/>
                <a:gd name="connsiteX1" fmla="*/ 4427220 w 4434840"/>
                <a:gd name="connsiteY1" fmla="*/ 0 h 5189250"/>
                <a:gd name="connsiteX2" fmla="*/ 4434840 w 4434840"/>
                <a:gd name="connsiteY2" fmla="*/ 5189250 h 5189250"/>
                <a:gd name="connsiteX3" fmla="*/ 0 w 4434840"/>
                <a:gd name="connsiteY3" fmla="*/ 5181600 h 518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34840" h="5189250">
                  <a:moveTo>
                    <a:pt x="0" y="5181600"/>
                  </a:moveTo>
                  <a:lnTo>
                    <a:pt x="4427220" y="0"/>
                  </a:lnTo>
                  <a:lnTo>
                    <a:pt x="4434840" y="5189250"/>
                  </a:lnTo>
                  <a:lnTo>
                    <a:pt x="0" y="5181600"/>
                  </a:lnTo>
                  <a:close/>
                </a:path>
              </a:pathLst>
            </a:custGeom>
            <a:solidFill>
              <a:schemeClr val="accent3">
                <a:alpha val="44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7977" y="238125"/>
            <a:ext cx="7866379" cy="57522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7977" y="971550"/>
            <a:ext cx="7866379" cy="3495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marL="685800" lvl="1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Franklin Gothic Book" panose="020B0503020102020204" pitchFamily="34" charset="0"/>
              <a:buChar char="–"/>
            </a:pPr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237746" y="4886680"/>
            <a:ext cx="0" cy="156568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 userDrawn="1"/>
        </p:nvCxnSpPr>
        <p:spPr bwMode="auto">
          <a:xfrm>
            <a:off x="511546" y="4886680"/>
            <a:ext cx="0" cy="156568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6" name="TextBox 25"/>
          <p:cNvSpPr txBox="1"/>
          <p:nvPr userDrawn="1"/>
        </p:nvSpPr>
        <p:spPr>
          <a:xfrm>
            <a:off x="6036" y="4859861"/>
            <a:ext cx="93610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0A45CA92-DA38-4697-8FB3-745C0CEDAECA}" type="slidenum">
              <a:rPr lang="en-US" sz="700">
                <a:solidFill>
                  <a:schemeClr val="tx1"/>
                </a:solidFill>
                <a:latin typeface="Lato Semibold" panose="020F0702020204030203" pitchFamily="34" charset="0"/>
                <a:cs typeface="Lato Semibold" panose="020F0702020204030203" pitchFamily="34" charset="0"/>
                <a:sym typeface="Gill Sans" charset="0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100" dirty="0">
              <a:solidFill>
                <a:schemeClr val="tx1"/>
              </a:solidFill>
              <a:latin typeface="Lato Semibold" panose="020F0702020204030203" pitchFamily="34" charset="0"/>
              <a:cs typeface="Lato Semibold" panose="020F0702020204030203" pitchFamily="34" charset="0"/>
              <a:sym typeface="Gill Sans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0" y="4654204"/>
            <a:ext cx="8199119" cy="13270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0" y="4762786"/>
            <a:ext cx="9144000" cy="392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/>
          <p:cNvCxnSpPr/>
          <p:nvPr userDrawn="1"/>
        </p:nvCxnSpPr>
        <p:spPr bwMode="auto">
          <a:xfrm>
            <a:off x="237746" y="4886680"/>
            <a:ext cx="0" cy="156568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9" name="Straight Connector 48"/>
          <p:cNvCxnSpPr/>
          <p:nvPr userDrawn="1"/>
        </p:nvCxnSpPr>
        <p:spPr bwMode="auto">
          <a:xfrm>
            <a:off x="511546" y="4886680"/>
            <a:ext cx="0" cy="156568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0" name="TextBox 49"/>
          <p:cNvSpPr txBox="1"/>
          <p:nvPr userDrawn="1"/>
        </p:nvSpPr>
        <p:spPr>
          <a:xfrm>
            <a:off x="6036" y="4859861"/>
            <a:ext cx="75596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0A45CA92-DA38-4697-8FB3-745C0CEDAECA}" type="slidenum">
              <a:rPr lang="en-US" sz="700">
                <a:solidFill>
                  <a:schemeClr val="bg1"/>
                </a:solidFill>
                <a:latin typeface="Lato Semibold" panose="020F0702020204030203" pitchFamily="34" charset="0"/>
                <a:cs typeface="Lato Semibold" panose="020F0702020204030203" pitchFamily="34" charset="0"/>
                <a:sym typeface="Gill Sans" charset="0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100" dirty="0">
              <a:solidFill>
                <a:schemeClr val="bg1"/>
              </a:solidFill>
              <a:latin typeface="Lato Semibold" panose="020F0702020204030203" pitchFamily="34" charset="0"/>
              <a:cs typeface="Lato Semibold" panose="020F0702020204030203" pitchFamily="34" charset="0"/>
              <a:sym typeface="Gill Sans" charset="0"/>
            </a:endParaRPr>
          </a:p>
        </p:txBody>
      </p:sp>
      <p:sp>
        <p:nvSpPr>
          <p:cNvPr id="51" name="TextBox 50"/>
          <p:cNvSpPr txBox="1"/>
          <p:nvPr userDrawn="1"/>
        </p:nvSpPr>
        <p:spPr>
          <a:xfrm>
            <a:off x="0" y="4853575"/>
            <a:ext cx="911346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 charset="0"/>
              </a:rPr>
              <a:t>www.apicasystems.com</a:t>
            </a:r>
            <a:endParaRPr lang="en-US" sz="700" dirty="0">
              <a:solidFill>
                <a:srgbClr val="FFFF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Gill Sans" charset="0"/>
            </a:endParaRPr>
          </a:p>
        </p:txBody>
      </p:sp>
      <p:pic>
        <p:nvPicPr>
          <p:cNvPr id="52" name="Picture 51" descr="logowhite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2433" y="4798936"/>
            <a:ext cx="1108464" cy="32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5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2" r:id="rId2"/>
    <p:sldLayoutId id="2147483666" r:id="rId3"/>
    <p:sldLayoutId id="2147483667" r:id="rId4"/>
    <p:sldLayoutId id="2147483674" r:id="rId5"/>
    <p:sldLayoutId id="2147483676" r:id="rId6"/>
    <p:sldLayoutId id="2147483677" r:id="rId7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Franklin Gothic Book" panose="020B05030201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Open Sans" panose="020B0606030504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6" userDrawn="1">
          <p15:clr>
            <a:srgbClr val="F26B43"/>
          </p15:clr>
        </p15:guide>
        <p15:guide id="2" pos="192" userDrawn="1">
          <p15:clr>
            <a:srgbClr val="F26B43"/>
          </p15:clr>
        </p15:guide>
        <p15:guide id="3" pos="5160" userDrawn="1">
          <p15:clr>
            <a:srgbClr val="F26B43"/>
          </p15:clr>
        </p15:guide>
        <p15:guide id="4" orient="horz" pos="2820" userDrawn="1">
          <p15:clr>
            <a:srgbClr val="F26B43"/>
          </p15:clr>
        </p15:guide>
        <p15:guide id="5" orient="horz" pos="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4" Type="http://schemas.openxmlformats.org/officeDocument/2006/relationships/image" Target="../media/image31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4" Type="http://schemas.openxmlformats.org/officeDocument/2006/relationships/image" Target="../media/image33.tiff"/><Relationship Id="rId5" Type="http://schemas.openxmlformats.org/officeDocument/2006/relationships/hyperlink" Target="https://app.smartsheet.com/b/home?lx=6nXnIrT-VzHwroVL7x_5rQ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confluence.apicasystem.com/display/BP/ALT+-+Apica+LoadTest" TargetMode="External"/><Relationship Id="rId4" Type="http://schemas.openxmlformats.org/officeDocument/2006/relationships/image" Target="../media/image35.jpeg"/><Relationship Id="rId5" Type="http://schemas.openxmlformats.org/officeDocument/2006/relationships/image" Target="../media/image36.tiff"/><Relationship Id="rId6" Type="http://schemas.openxmlformats.org/officeDocument/2006/relationships/image" Target="../media/image37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8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trello.com/b/7l215VkP/ps-stockholm" TargetMode="External"/><Relationship Id="rId3" Type="http://schemas.openxmlformats.org/officeDocument/2006/relationships/image" Target="../media/image39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martsheet.com/b/home?lx=gdQn43Ut-Q_RkJbFvTPEBw" TargetMode="External"/><Relationship Id="rId4" Type="http://schemas.openxmlformats.org/officeDocument/2006/relationships/image" Target="../media/image40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app.smartsheet.com/b/home?lx=gdQn43Ut-Q_RkJbFvTPEBw" TargetMode="External"/><Relationship Id="rId3" Type="http://schemas.openxmlformats.org/officeDocument/2006/relationships/image" Target="../media/image41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4" Type="http://schemas.openxmlformats.org/officeDocument/2006/relationships/image" Target="../media/image43.tiff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app.smartsheet.com/b/home?lx=gdQn43Ut-Q_RkJbFvTPEBw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4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4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8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8" Type="http://schemas.openxmlformats.org/officeDocument/2006/relationships/image" Target="../media/image51.png"/><Relationship Id="rId9" Type="http://schemas.openxmlformats.org/officeDocument/2006/relationships/image" Target="../media/image52.png"/><Relationship Id="rId10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8" Type="http://schemas.openxmlformats.org/officeDocument/2006/relationships/image" Target="../media/image54.jpeg"/><Relationship Id="rId9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4" Type="http://schemas.openxmlformats.org/officeDocument/2006/relationships/diagramLayout" Target="../diagrams/layout5.xml"/><Relationship Id="rId5" Type="http://schemas.openxmlformats.org/officeDocument/2006/relationships/diagramQuickStyle" Target="../diagrams/quickStyle5.xml"/><Relationship Id="rId6" Type="http://schemas.openxmlformats.org/officeDocument/2006/relationships/diagramColors" Target="../diagrams/colors5.xml"/><Relationship Id="rId7" Type="http://schemas.microsoft.com/office/2007/relationships/diagramDrawing" Target="../diagrams/drawing5.xml"/><Relationship Id="rId8" Type="http://schemas.openxmlformats.org/officeDocument/2006/relationships/image" Target="../media/image56.png"/><Relationship Id="rId9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1.xml"/><Relationship Id="rId3" Type="http://schemas.openxmlformats.org/officeDocument/2006/relationships/hyperlink" Target="mailto:patrick.moser@apicasystem.com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tiff"/><Relationship Id="rId13" Type="http://schemas.openxmlformats.org/officeDocument/2006/relationships/image" Target="../media/image18.jpg"/><Relationship Id="rId14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8.jpg"/><Relationship Id="rId4" Type="http://schemas.openxmlformats.org/officeDocument/2006/relationships/image" Target="../media/image9.jpeg"/><Relationship Id="rId5" Type="http://schemas.openxmlformats.org/officeDocument/2006/relationships/image" Target="../media/image10.jpeg"/><Relationship Id="rId6" Type="http://schemas.openxmlformats.org/officeDocument/2006/relationships/image" Target="../media/image11.jpg"/><Relationship Id="rId7" Type="http://schemas.openxmlformats.org/officeDocument/2006/relationships/image" Target="../media/image12.jpg"/><Relationship Id="rId8" Type="http://schemas.openxmlformats.org/officeDocument/2006/relationships/image" Target="../media/image13.jpg"/><Relationship Id="rId9" Type="http://schemas.openxmlformats.org/officeDocument/2006/relationships/image" Target="../media/image14.jpg"/><Relationship Id="rId10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4" Type="http://schemas.openxmlformats.org/officeDocument/2006/relationships/image" Target="../media/image21.jpeg"/><Relationship Id="rId5" Type="http://schemas.openxmlformats.org/officeDocument/2006/relationships/image" Target="../media/image22.jpeg"/><Relationship Id="rId6" Type="http://schemas.openxmlformats.org/officeDocument/2006/relationships/image" Target="../media/image23.jpeg"/><Relationship Id="rId7" Type="http://schemas.openxmlformats.org/officeDocument/2006/relationships/image" Target="../media/image24.jpeg"/><Relationship Id="rId8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2260" name="Subtitle 2259"/>
          <p:cNvSpPr>
            <a:spLocks noGrp="1"/>
          </p:cNvSpPr>
          <p:nvPr>
            <p:ph type="subTitle" idx="1"/>
          </p:nvPr>
        </p:nvSpPr>
        <p:spPr>
          <a:xfrm>
            <a:off x="1752600" y="1885950"/>
            <a:ext cx="4914601" cy="659226"/>
          </a:xfrm>
        </p:spPr>
        <p:txBody>
          <a:bodyPr/>
          <a:lstStyle/>
          <a:p>
            <a:pPr algn="ctr">
              <a:defRPr/>
            </a:pP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sional Services </a:t>
            </a:r>
          </a:p>
          <a:p>
            <a:pPr algn="ctr">
              <a:defRPr/>
            </a:pPr>
            <a:endParaRPr lang="en-GB" sz="28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ica Introduction</a:t>
            </a:r>
            <a:b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ockholm 20-24/2, 2017</a:t>
            </a:r>
            <a:b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GB" sz="2800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rick Moser</a:t>
            </a:r>
          </a:p>
          <a:p>
            <a:pPr algn="ctr">
              <a:defRPr/>
            </a:pP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GB" sz="28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2057400" y="1207089"/>
            <a:ext cx="4889201" cy="533400"/>
          </a:xfrm>
        </p:spPr>
        <p:txBody>
          <a:bodyPr anchor="t"/>
          <a:lstStyle/>
          <a:p>
            <a:r>
              <a:rPr lang="en-US" sz="2800" dirty="0" smtClean="0"/>
              <a:t>		</a:t>
            </a:r>
            <a:r>
              <a:rPr lang="en-US" dirty="0" smtClean="0"/>
              <a:t>Apica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266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 - Going global</a:t>
            </a:r>
            <a:r>
              <a:rPr lang="is-IS" dirty="0" smtClean="0"/>
              <a:t>…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r>
              <a:rPr lang="en-US" sz="1600" dirty="0" smtClean="0"/>
              <a:t>Global Competence Plan </a:t>
            </a:r>
          </a:p>
          <a:p>
            <a:pPr lvl="1"/>
            <a:r>
              <a:rPr lang="en-US" sz="1050" dirty="0" smtClean="0"/>
              <a:t>Global Competence Matrix </a:t>
            </a:r>
          </a:p>
          <a:p>
            <a:pPr lvl="1"/>
            <a:r>
              <a:rPr lang="en-US" sz="1050" dirty="0" smtClean="0"/>
              <a:t>Global Staff </a:t>
            </a:r>
            <a:r>
              <a:rPr lang="en-US" sz="1050" dirty="0"/>
              <a:t>Development </a:t>
            </a:r>
            <a:r>
              <a:rPr lang="en-US" sz="1050" dirty="0" smtClean="0"/>
              <a:t>Plan</a:t>
            </a:r>
          </a:p>
          <a:p>
            <a:pPr lvl="1"/>
            <a:r>
              <a:rPr lang="en-US" sz="1050" dirty="0" smtClean="0"/>
              <a:t>Global Staff </a:t>
            </a:r>
            <a:r>
              <a:rPr lang="en-US" sz="1050" dirty="0"/>
              <a:t>Rotation </a:t>
            </a:r>
            <a:r>
              <a:rPr lang="en-US" sz="1050" dirty="0" smtClean="0"/>
              <a:t>Program</a:t>
            </a:r>
          </a:p>
          <a:p>
            <a:pPr lvl="1"/>
            <a:r>
              <a:rPr lang="en-US" sz="1050" dirty="0"/>
              <a:t>Global Recruitment </a:t>
            </a:r>
            <a:r>
              <a:rPr lang="en-US" sz="1050" dirty="0" smtClean="0"/>
              <a:t>Plan</a:t>
            </a:r>
          </a:p>
          <a:p>
            <a:pPr lvl="1"/>
            <a:r>
              <a:rPr lang="en-US" sz="1050" dirty="0"/>
              <a:t>Global Induction </a:t>
            </a:r>
            <a:r>
              <a:rPr lang="en-US" sz="1050" dirty="0" smtClean="0"/>
              <a:t>Program</a:t>
            </a:r>
          </a:p>
          <a:p>
            <a:r>
              <a:rPr lang="en-US" sz="1600" dirty="0" smtClean="0"/>
              <a:t>Global </a:t>
            </a:r>
            <a:r>
              <a:rPr lang="en-US" sz="1600" dirty="0"/>
              <a:t>Best Practices / Implementation Methodology</a:t>
            </a:r>
          </a:p>
          <a:p>
            <a:r>
              <a:rPr lang="en-US" sz="1600" dirty="0" smtClean="0"/>
              <a:t>Global </a:t>
            </a:r>
            <a:r>
              <a:rPr lang="en-US" sz="1600" dirty="0"/>
              <a:t>Extended Services Plan</a:t>
            </a:r>
          </a:p>
          <a:p>
            <a:r>
              <a:rPr lang="en-US" sz="1600" dirty="0" smtClean="0"/>
              <a:t>Global Training Program</a:t>
            </a:r>
          </a:p>
          <a:p>
            <a:endParaRPr lang="en-US" sz="1200" dirty="0"/>
          </a:p>
        </p:txBody>
      </p:sp>
      <p:pic>
        <p:nvPicPr>
          <p:cNvPr id="8194" name="Picture 2" descr="ildresultat för going globa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813353"/>
            <a:ext cx="1905000" cy="210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13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ca - Service catalogue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LT &amp; ASM – Performance test strategy</a:t>
            </a:r>
          </a:p>
          <a:p>
            <a:pPr lvl="1"/>
            <a:r>
              <a:rPr lang="en-US" sz="800" b="1" dirty="0" smtClean="0"/>
              <a:t>Agnostic LT performance test strategy</a:t>
            </a:r>
          </a:p>
          <a:p>
            <a:pPr lvl="1"/>
            <a:r>
              <a:rPr lang="en-US" sz="800" b="1" dirty="0" smtClean="0"/>
              <a:t>LT performance implementation strategy</a:t>
            </a:r>
          </a:p>
          <a:p>
            <a:pPr lvl="1"/>
            <a:r>
              <a:rPr lang="en-US" sz="800" b="1" dirty="0" smtClean="0"/>
              <a:t>ASM implementation strategy (TAM driven)</a:t>
            </a:r>
          </a:p>
          <a:p>
            <a:pPr lvl="1"/>
            <a:r>
              <a:rPr lang="en-US" sz="800" b="1" dirty="0" smtClean="0"/>
              <a:t>Apica performance solution strategy (LT and ASM combined)</a:t>
            </a:r>
            <a:endParaRPr lang="en-US" sz="800" b="1" dirty="0"/>
          </a:p>
          <a:p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LT &amp; ASM – Methodology support</a:t>
            </a:r>
          </a:p>
          <a:p>
            <a:pPr lvl="1"/>
            <a:r>
              <a:rPr lang="en-US" sz="800" b="1" dirty="0"/>
              <a:t>LT SaaS – Best </a:t>
            </a:r>
            <a:r>
              <a:rPr lang="en-US" sz="800" b="1" dirty="0" err="1" smtClean="0"/>
              <a:t>Practises</a:t>
            </a:r>
            <a:endParaRPr lang="en-US" sz="800" b="1" dirty="0"/>
          </a:p>
          <a:p>
            <a:pPr lvl="1"/>
            <a:r>
              <a:rPr lang="en-US" sz="800" b="1" dirty="0"/>
              <a:t>ASM – Best </a:t>
            </a:r>
            <a:r>
              <a:rPr lang="en-US" sz="800" b="1" dirty="0" err="1" smtClean="0"/>
              <a:t>Practises</a:t>
            </a:r>
            <a:r>
              <a:rPr lang="en-US" sz="800" b="1" dirty="0" smtClean="0"/>
              <a:t> </a:t>
            </a:r>
            <a:r>
              <a:rPr lang="en-US" sz="800" b="1" dirty="0"/>
              <a:t>(TAM driven)</a:t>
            </a:r>
            <a:endParaRPr lang="en-US" sz="1100" b="1" dirty="0"/>
          </a:p>
          <a:p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LT - Continuous integration / delivery </a:t>
            </a:r>
            <a:endParaRPr lang="en-US" sz="11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LT </a:t>
            </a: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- APM Integration / Managed services</a:t>
            </a:r>
          </a:p>
          <a:p>
            <a:r>
              <a:rPr lang="en-US" sz="800" dirty="0" smtClean="0"/>
              <a:t>ASM </a:t>
            </a:r>
            <a:r>
              <a:rPr lang="en-US" sz="800" dirty="0"/>
              <a:t>– Analysis &amp; Reporting services</a:t>
            </a:r>
          </a:p>
          <a:p>
            <a:r>
              <a:rPr lang="en-US" sz="800" i="1" dirty="0"/>
              <a:t>ASM – Integration services </a:t>
            </a:r>
            <a:r>
              <a:rPr lang="en-US" sz="800" i="1" dirty="0" smtClean="0"/>
              <a:t>(CDN, </a:t>
            </a:r>
            <a:r>
              <a:rPr lang="en-US" sz="800" i="1" dirty="0"/>
              <a:t>Google, Dashboard, Alarm, Custom integration, </a:t>
            </a:r>
            <a:r>
              <a:rPr lang="is-IS" sz="800" i="1" dirty="0"/>
              <a:t>…</a:t>
            </a:r>
            <a:r>
              <a:rPr lang="is-IS" sz="800" dirty="0"/>
              <a:t>)</a:t>
            </a:r>
            <a:endParaRPr lang="en-US" sz="800" dirty="0"/>
          </a:p>
          <a:p>
            <a:r>
              <a:rPr lang="en-US" sz="800" i="1" dirty="0"/>
              <a:t>ASM – </a:t>
            </a:r>
            <a:r>
              <a:rPr lang="en-US" sz="800" i="1" dirty="0" smtClean="0"/>
              <a:t>DNS Services</a:t>
            </a:r>
          </a:p>
          <a:p>
            <a:r>
              <a:rPr lang="en-US" sz="800" i="1" dirty="0" smtClean="0"/>
              <a:t>LT </a:t>
            </a:r>
            <a:r>
              <a:rPr lang="en-US" sz="800" i="1" dirty="0"/>
              <a:t>– Performance center-of-excellence (</a:t>
            </a:r>
            <a:r>
              <a:rPr lang="en-US" sz="800" i="1" dirty="0" err="1"/>
              <a:t>CoE</a:t>
            </a:r>
            <a:r>
              <a:rPr lang="en-US" sz="800" i="1" dirty="0"/>
              <a:t>)</a:t>
            </a:r>
          </a:p>
          <a:p>
            <a:r>
              <a:rPr lang="en-US" sz="800" i="1" dirty="0" smtClean="0"/>
              <a:t>LT </a:t>
            </a:r>
            <a:r>
              <a:rPr lang="en-US" sz="800" i="1" dirty="0"/>
              <a:t>- Environment &amp; Test data management</a:t>
            </a:r>
          </a:p>
          <a:p>
            <a:r>
              <a:rPr lang="en-US" sz="700" i="1" dirty="0"/>
              <a:t>LT – Security (DDOS, Penetration tests)</a:t>
            </a:r>
          </a:p>
          <a:p>
            <a:endParaRPr lang="en-US" sz="900" dirty="0"/>
          </a:p>
        </p:txBody>
      </p:sp>
      <p:pic>
        <p:nvPicPr>
          <p:cNvPr id="6150" name="Picture 6" descr="ildresultat för extended servic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3241480"/>
            <a:ext cx="1735249" cy="138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600" y="813353"/>
            <a:ext cx="3977066" cy="226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75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- </a:t>
            </a:r>
            <a:r>
              <a:rPr lang="sv-SE" dirty="0" err="1" smtClean="0"/>
              <a:t>Competence</a:t>
            </a:r>
            <a:r>
              <a:rPr lang="sv-SE" dirty="0" smtClean="0"/>
              <a:t> matrix</a:t>
            </a:r>
            <a:endParaRPr lang="sv-SE" dirty="0"/>
          </a:p>
        </p:txBody>
      </p:sp>
      <p:pic>
        <p:nvPicPr>
          <p:cNvPr id="9218" name="Picture 2" descr="ildresultat för compet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844580"/>
            <a:ext cx="285750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977" y="971550"/>
            <a:ext cx="5236487" cy="335224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7977" y="4360328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 smtClean="0">
                <a:hlinkClick r:id="rId5"/>
              </a:rPr>
              <a:t>PS Competence Matrix (Smartsheet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2500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err="1" smtClean="0"/>
              <a:t>Competence</a:t>
            </a:r>
            <a:r>
              <a:rPr lang="sv-SE" dirty="0" smtClean="0"/>
              <a:t> areas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844955"/>
            <a:ext cx="8292624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err="1" smtClean="0"/>
              <a:t>Our</a:t>
            </a:r>
            <a:r>
              <a:rPr lang="sv-SE" sz="1600" dirty="0" smtClean="0"/>
              <a:t> solutions</a:t>
            </a:r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Apica </a:t>
            </a:r>
            <a:r>
              <a:rPr lang="sv-SE" sz="1200" dirty="0" err="1" smtClean="0"/>
              <a:t>Load</a:t>
            </a:r>
            <a:r>
              <a:rPr lang="sv-SE" sz="1200" dirty="0" smtClean="0"/>
              <a:t> Test (ALT)</a:t>
            </a:r>
          </a:p>
          <a:p>
            <a:pPr lvl="2">
              <a:buFont typeface="Arial" charset="0"/>
              <a:buChar char="•"/>
            </a:pPr>
            <a:r>
              <a:rPr lang="sv-SE" sz="1000" dirty="0" err="1" smtClean="0"/>
              <a:t>ZebraTester</a:t>
            </a:r>
            <a:r>
              <a:rPr lang="sv-SE" sz="1000" dirty="0" smtClean="0"/>
              <a:t> (</a:t>
            </a:r>
            <a:r>
              <a:rPr lang="sv-SE" sz="1000" dirty="0" err="1" smtClean="0"/>
              <a:t>Scripting</a:t>
            </a:r>
            <a:r>
              <a:rPr lang="sv-SE" sz="1000" dirty="0" smtClean="0"/>
              <a:t> </a:t>
            </a:r>
            <a:r>
              <a:rPr lang="sv-SE" sz="1000" dirty="0" err="1" smtClean="0"/>
              <a:t>tool</a:t>
            </a:r>
            <a:r>
              <a:rPr lang="sv-SE" sz="1000" dirty="0" smtClean="0"/>
              <a:t>)</a:t>
            </a:r>
          </a:p>
          <a:p>
            <a:pPr lvl="2">
              <a:buFont typeface="Arial" charset="0"/>
              <a:buChar char="•"/>
            </a:pPr>
            <a:r>
              <a:rPr lang="sv-SE" sz="1000" dirty="0" err="1" smtClean="0"/>
              <a:t>Load</a:t>
            </a:r>
            <a:r>
              <a:rPr lang="sv-SE" sz="1000" dirty="0" smtClean="0"/>
              <a:t> Test Portal (LTP) (</a:t>
            </a:r>
            <a:r>
              <a:rPr lang="sv-SE" sz="1000" dirty="0" err="1" smtClean="0"/>
              <a:t>Load</a:t>
            </a:r>
            <a:r>
              <a:rPr lang="sv-SE" sz="1000" dirty="0" smtClean="0"/>
              <a:t> Test </a:t>
            </a:r>
            <a:r>
              <a:rPr lang="sv-SE" sz="1000" dirty="0" err="1" smtClean="0"/>
              <a:t>Platform</a:t>
            </a:r>
            <a:r>
              <a:rPr lang="sv-SE" sz="1000" dirty="0" smtClean="0"/>
              <a:t>)</a:t>
            </a:r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Apica Synthetic </a:t>
            </a:r>
            <a:r>
              <a:rPr lang="sv-SE" sz="1200" dirty="0" err="1" smtClean="0"/>
              <a:t>Monitoring</a:t>
            </a:r>
            <a:r>
              <a:rPr lang="sv-SE" sz="1200" dirty="0" smtClean="0"/>
              <a:t> (ASM)</a:t>
            </a:r>
          </a:p>
          <a:p>
            <a:pPr>
              <a:buFont typeface="Arial" charset="0"/>
              <a:buChar char="•"/>
            </a:pPr>
            <a:r>
              <a:rPr lang="sv-SE" sz="1600" dirty="0" err="1" smtClean="0"/>
              <a:t>Application</a:t>
            </a:r>
            <a:r>
              <a:rPr lang="sv-SE" sz="1600" dirty="0" smtClean="0"/>
              <a:t> </a:t>
            </a:r>
            <a:r>
              <a:rPr lang="sv-SE" sz="1600" dirty="0" err="1" smtClean="0"/>
              <a:t>Performance</a:t>
            </a:r>
            <a:r>
              <a:rPr lang="sv-SE" sz="1600" dirty="0" smtClean="0"/>
              <a:t> </a:t>
            </a:r>
            <a:r>
              <a:rPr lang="sv-SE" sz="1600" dirty="0" err="1" smtClean="0"/>
              <a:t>Monitoring</a:t>
            </a:r>
            <a:r>
              <a:rPr lang="sv-SE" sz="1600" dirty="0" smtClean="0"/>
              <a:t> (APM)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AppDynamics</a:t>
            </a:r>
            <a:r>
              <a:rPr lang="sv-SE" sz="1200" dirty="0" smtClean="0"/>
              <a:t>, </a:t>
            </a:r>
            <a:r>
              <a:rPr lang="sv-SE" sz="1200" dirty="0" err="1" smtClean="0"/>
              <a:t>Dynatrace</a:t>
            </a:r>
            <a:r>
              <a:rPr lang="sv-SE" sz="1200" dirty="0" smtClean="0"/>
              <a:t>, </a:t>
            </a:r>
            <a:r>
              <a:rPr lang="sv-SE" sz="1200" dirty="0" err="1" smtClean="0"/>
              <a:t>NewRelic</a:t>
            </a:r>
            <a:r>
              <a:rPr lang="sv-SE" sz="1200" dirty="0" smtClean="0"/>
              <a:t>, </a:t>
            </a:r>
            <a:r>
              <a:rPr lang="sv-SE" sz="1200" dirty="0" err="1" smtClean="0"/>
              <a:t>Instana</a:t>
            </a:r>
            <a:r>
              <a:rPr lang="sv-SE" sz="1200" dirty="0" smtClean="0"/>
              <a:t> </a:t>
            </a:r>
          </a:p>
          <a:p>
            <a:pPr>
              <a:buFont typeface="Arial" charset="0"/>
              <a:buChar char="•"/>
            </a:pPr>
            <a:r>
              <a:rPr lang="sv-SE" sz="1600" dirty="0" err="1" smtClean="0"/>
              <a:t>Competitors</a:t>
            </a:r>
            <a:r>
              <a:rPr lang="sv-SE" sz="1600" dirty="0" smtClean="0"/>
              <a:t>, </a:t>
            </a:r>
            <a:r>
              <a:rPr lang="sv-SE" sz="1600" dirty="0" err="1" smtClean="0"/>
              <a:t>collaboration</a:t>
            </a:r>
            <a:r>
              <a:rPr lang="sv-SE" sz="1600" dirty="0" smtClean="0"/>
              <a:t> &amp; integration </a:t>
            </a:r>
            <a:r>
              <a:rPr lang="sv-SE" sz="1600" dirty="0" err="1" smtClean="0"/>
              <a:t>tools</a:t>
            </a:r>
            <a:endParaRPr lang="sv-SE" sz="1600" dirty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Load</a:t>
            </a:r>
            <a:r>
              <a:rPr lang="sv-SE" sz="1200" dirty="0" smtClean="0"/>
              <a:t> </a:t>
            </a:r>
            <a:r>
              <a:rPr lang="sv-SE" sz="1200" dirty="0" err="1" smtClean="0"/>
              <a:t>Testing</a:t>
            </a:r>
            <a:endParaRPr lang="sv-SE" sz="1200" dirty="0" smtClean="0"/>
          </a:p>
          <a:p>
            <a:pPr lvl="2">
              <a:buFont typeface="Arial" charset="0"/>
              <a:buChar char="•"/>
            </a:pPr>
            <a:r>
              <a:rPr lang="sv-SE" sz="1000" dirty="0" smtClean="0"/>
              <a:t>Microsoft (Visual Studio), </a:t>
            </a:r>
            <a:r>
              <a:rPr lang="sv-SE" sz="1000" dirty="0" err="1" smtClean="0"/>
              <a:t>Gatling</a:t>
            </a:r>
            <a:r>
              <a:rPr lang="sv-SE" sz="1000" dirty="0" smtClean="0"/>
              <a:t>, HP (</a:t>
            </a:r>
            <a:r>
              <a:rPr lang="sv-SE" sz="1000" dirty="0" err="1" smtClean="0"/>
              <a:t>LoadRunner</a:t>
            </a:r>
            <a:r>
              <a:rPr lang="sv-SE" sz="1000" dirty="0" smtClean="0"/>
              <a:t>), </a:t>
            </a:r>
            <a:r>
              <a:rPr lang="sv-SE" sz="1000" dirty="0" err="1" smtClean="0"/>
              <a:t>Soasta</a:t>
            </a:r>
            <a:r>
              <a:rPr lang="sv-SE" sz="1000" dirty="0" smtClean="0"/>
              <a:t>, </a:t>
            </a:r>
            <a:r>
              <a:rPr lang="sv-SE" sz="1000" dirty="0" err="1" smtClean="0"/>
              <a:t>JMeter</a:t>
            </a:r>
            <a:endParaRPr lang="sv-SE" sz="10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/>
              <a:t>Syntethic</a:t>
            </a:r>
            <a:r>
              <a:rPr lang="sv-SE" sz="1200" dirty="0"/>
              <a:t> </a:t>
            </a:r>
            <a:r>
              <a:rPr lang="sv-SE" sz="1200" dirty="0" err="1"/>
              <a:t>Monitoring</a:t>
            </a:r>
            <a:endParaRPr lang="sv-SE" sz="1200" dirty="0"/>
          </a:p>
          <a:p>
            <a:pPr lvl="2">
              <a:buFont typeface="Arial" charset="0"/>
              <a:buChar char="•"/>
            </a:pPr>
            <a:r>
              <a:rPr lang="sv-SE" sz="1000" dirty="0" err="1"/>
              <a:t>Splunk</a:t>
            </a:r>
            <a:r>
              <a:rPr lang="sv-SE" sz="1000" dirty="0"/>
              <a:t>, </a:t>
            </a:r>
            <a:r>
              <a:rPr lang="sv-SE" sz="1000" dirty="0" err="1"/>
              <a:t>Elastic</a:t>
            </a:r>
            <a:r>
              <a:rPr lang="sv-SE" sz="1000" dirty="0"/>
              <a:t> stack, Graphana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Build</a:t>
            </a:r>
            <a:r>
              <a:rPr lang="sv-SE" sz="1200" dirty="0" smtClean="0"/>
              <a:t> Tools </a:t>
            </a:r>
          </a:p>
          <a:p>
            <a:pPr lvl="2">
              <a:buFont typeface="Arial" charset="0"/>
              <a:buChar char="•"/>
            </a:pPr>
            <a:r>
              <a:rPr lang="sv-SE" sz="1000" dirty="0" smtClean="0"/>
              <a:t>Jenkins, Teamcity, </a:t>
            </a:r>
            <a:r>
              <a:rPr lang="sv-SE" sz="1000" dirty="0" err="1" smtClean="0"/>
              <a:t>Bamboo</a:t>
            </a:r>
            <a:r>
              <a:rPr lang="sv-SE" sz="1000" dirty="0" smtClean="0"/>
              <a:t>, AWS </a:t>
            </a:r>
            <a:r>
              <a:rPr lang="sv-SE" sz="1000" dirty="0" err="1" smtClean="0"/>
              <a:t>Code</a:t>
            </a:r>
            <a:r>
              <a:rPr lang="sv-SE" sz="1000" dirty="0" smtClean="0"/>
              <a:t> pipeline</a:t>
            </a:r>
            <a:r>
              <a:rPr lang="sv-SE" dirty="0" smtClean="0"/>
              <a:t>			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Other</a:t>
            </a:r>
            <a:endParaRPr lang="sv-SE" sz="1200" dirty="0"/>
          </a:p>
          <a:p>
            <a:pPr lvl="2">
              <a:buFont typeface="Arial" charset="0"/>
              <a:buChar char="•"/>
            </a:pPr>
            <a:r>
              <a:rPr lang="sv-SE" sz="1000" dirty="0" smtClean="0"/>
              <a:t>Integrations, Streaming</a:t>
            </a:r>
            <a:r>
              <a:rPr lang="sv-SE" sz="1000" dirty="0"/>
              <a:t>, </a:t>
            </a:r>
            <a:r>
              <a:rPr lang="sv-SE" sz="1000" dirty="0" err="1" smtClean="0"/>
              <a:t>Security</a:t>
            </a:r>
            <a:r>
              <a:rPr lang="sv-SE" sz="1000" dirty="0" smtClean="0"/>
              <a:t> (DDOS), </a:t>
            </a:r>
            <a:r>
              <a:rPr lang="sv-SE" sz="1000" dirty="0"/>
              <a:t>Mega </a:t>
            </a:r>
            <a:r>
              <a:rPr lang="sv-SE" sz="1000" dirty="0" smtClean="0"/>
              <a:t>tests (LT), </a:t>
            </a:r>
            <a:r>
              <a:rPr lang="sv-SE" sz="1000" dirty="0"/>
              <a:t>DNS, </a:t>
            </a:r>
            <a:r>
              <a:rPr lang="sv-SE" sz="1000" dirty="0" smtClean="0"/>
              <a:t>CDN</a:t>
            </a:r>
            <a:endParaRPr lang="sv-SE" sz="1000" dirty="0"/>
          </a:p>
        </p:txBody>
      </p:sp>
      <p:pic>
        <p:nvPicPr>
          <p:cNvPr id="10242" name="Picture 2" descr="ildresultat för technical soluti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844955"/>
            <a:ext cx="2209799" cy="1287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31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- Best </a:t>
            </a:r>
            <a:r>
              <a:rPr lang="sv-SE" dirty="0" err="1" smtClean="0"/>
              <a:t>practises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/>
              <a:t>Best </a:t>
            </a:r>
            <a:r>
              <a:rPr lang="sv-SE" sz="1600" dirty="0" err="1" smtClean="0"/>
              <a:t>practises</a:t>
            </a:r>
            <a:r>
              <a:rPr lang="sv-SE" sz="1600" dirty="0" smtClean="0"/>
              <a:t> – ALT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Onboard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Script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Load</a:t>
            </a:r>
            <a:r>
              <a:rPr lang="sv-SE" sz="1200" dirty="0" smtClean="0"/>
              <a:t> </a:t>
            </a:r>
            <a:r>
              <a:rPr lang="sv-SE" sz="1200" dirty="0" err="1" smtClean="0"/>
              <a:t>test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Analysis</a:t>
            </a:r>
            <a:r>
              <a:rPr lang="sv-SE" sz="1200" dirty="0" smtClean="0"/>
              <a:t> &amp; </a:t>
            </a:r>
            <a:r>
              <a:rPr lang="sv-SE" sz="1200" dirty="0" err="1" smtClean="0"/>
              <a:t>recommendations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Report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Project exit / Post mortem</a:t>
            </a:r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Integrations (APM, CI)</a:t>
            </a:r>
          </a:p>
          <a:p>
            <a:pPr>
              <a:buFont typeface="Arial" charset="0"/>
              <a:buChar char="•"/>
            </a:pPr>
            <a:r>
              <a:rPr lang="sv-SE" sz="1600" dirty="0" smtClean="0"/>
              <a:t>Best </a:t>
            </a:r>
            <a:r>
              <a:rPr lang="sv-SE" sz="1600" dirty="0" err="1" smtClean="0"/>
              <a:t>practises</a:t>
            </a:r>
            <a:r>
              <a:rPr lang="sv-SE" sz="1600" dirty="0" smtClean="0"/>
              <a:t> - ASM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Onboard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Scripting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/>
              <a:t>Analysis</a:t>
            </a:r>
            <a:r>
              <a:rPr lang="sv-SE" sz="1200" dirty="0"/>
              <a:t> </a:t>
            </a:r>
            <a:r>
              <a:rPr lang="sv-SE" sz="1200" dirty="0" smtClean="0"/>
              <a:t>&amp; </a:t>
            </a:r>
            <a:r>
              <a:rPr lang="sv-SE" sz="1200" dirty="0" err="1" smtClean="0"/>
              <a:t>Reporting</a:t>
            </a:r>
            <a:endParaRPr lang="sv-SE" sz="1200" dirty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Integrations (APM, CDN)</a:t>
            </a:r>
          </a:p>
          <a:p>
            <a:pPr marL="284163" lvl="1" indent="0">
              <a:buNone/>
            </a:pPr>
            <a:r>
              <a:rPr lang="sv-SE" sz="1200" dirty="0" smtClean="0"/>
              <a:t> </a:t>
            </a:r>
            <a:r>
              <a:rPr lang="sv-SE" sz="1200" dirty="0" smtClean="0">
                <a:hlinkClick r:id="rId3"/>
              </a:rPr>
              <a:t>Confluence link</a:t>
            </a:r>
            <a:r>
              <a:rPr lang="is-IS" sz="1200" dirty="0" smtClean="0">
                <a:hlinkClick r:id="rId3"/>
              </a:rPr>
              <a:t>…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endParaRPr lang="sv-SE" sz="12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5752" y="186180"/>
            <a:ext cx="1524590" cy="11434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5578" y="171612"/>
            <a:ext cx="1544014" cy="115801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0624" y="1435341"/>
            <a:ext cx="5374204" cy="266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9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- Best </a:t>
            </a:r>
            <a:r>
              <a:rPr lang="sv-SE" dirty="0" err="1" smtClean="0"/>
              <a:t>practises</a:t>
            </a:r>
            <a:r>
              <a:rPr lang="sv-SE" dirty="0" smtClean="0"/>
              <a:t> </a:t>
            </a:r>
            <a:r>
              <a:rPr lang="sv-SE" dirty="0" smtClean="0"/>
              <a:t>– Post mortem</a:t>
            </a:r>
            <a:r>
              <a:rPr lang="is-IS" dirty="0" smtClean="0"/>
              <a:t>…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/>
              <a:t>Backup </a:t>
            </a:r>
            <a:r>
              <a:rPr lang="sv-SE" sz="1600" dirty="0" err="1" smtClean="0"/>
              <a:t>of</a:t>
            </a:r>
            <a:r>
              <a:rPr lang="sv-SE" sz="1600" dirty="0" smtClean="0"/>
              <a:t> </a:t>
            </a:r>
            <a:r>
              <a:rPr lang="sv-SE" sz="1600" dirty="0" err="1" smtClean="0"/>
              <a:t>project</a:t>
            </a:r>
            <a:r>
              <a:rPr lang="sv-SE" sz="1600" dirty="0" smtClean="0"/>
              <a:t> data</a:t>
            </a:r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LT scripts, LT </a:t>
            </a:r>
            <a:r>
              <a:rPr lang="sv-SE" sz="1200" dirty="0" err="1" smtClean="0"/>
              <a:t>reports</a:t>
            </a:r>
            <a:r>
              <a:rPr lang="sv-SE" sz="1200" dirty="0" smtClean="0"/>
              <a:t>, </a:t>
            </a:r>
            <a:r>
              <a:rPr lang="sv-SE" sz="1200" dirty="0" err="1" smtClean="0"/>
              <a:t>customer</a:t>
            </a:r>
            <a:r>
              <a:rPr lang="sv-SE" sz="1200" dirty="0" smtClean="0"/>
              <a:t> </a:t>
            </a:r>
            <a:r>
              <a:rPr lang="sv-SE" sz="1200" dirty="0" err="1" smtClean="0"/>
              <a:t>specific</a:t>
            </a:r>
            <a:r>
              <a:rPr lang="sv-SE" sz="1200" dirty="0" smtClean="0"/>
              <a:t> data (to LTP)</a:t>
            </a:r>
            <a:endParaRPr lang="sv-SE" sz="1200" dirty="0"/>
          </a:p>
          <a:p>
            <a:pPr>
              <a:buFont typeface="Arial" charset="0"/>
              <a:buChar char="•"/>
            </a:pPr>
            <a:r>
              <a:rPr lang="sv-SE" sz="1600" dirty="0" smtClean="0"/>
              <a:t>Project </a:t>
            </a:r>
            <a:r>
              <a:rPr lang="sv-SE" sz="1600" dirty="0" err="1"/>
              <a:t>evaluation</a:t>
            </a:r>
            <a:r>
              <a:rPr lang="sv-SE" sz="1600" dirty="0"/>
              <a:t> (</a:t>
            </a:r>
            <a:r>
              <a:rPr lang="sv-SE" sz="1600" dirty="0" err="1"/>
              <a:t>external</a:t>
            </a:r>
            <a:r>
              <a:rPr lang="sv-SE" sz="1600" dirty="0"/>
              <a:t> </a:t>
            </a:r>
            <a:r>
              <a:rPr lang="sv-SE" sz="1600" dirty="0" err="1"/>
              <a:t>customer</a:t>
            </a:r>
            <a:r>
              <a:rPr lang="sv-SE" sz="1600" dirty="0" smtClean="0"/>
              <a:t>)</a:t>
            </a:r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Handled by Apica test </a:t>
            </a:r>
            <a:r>
              <a:rPr lang="sv-SE" sz="1200" dirty="0" err="1" smtClean="0"/>
              <a:t>lead</a:t>
            </a:r>
            <a:endParaRPr lang="sv-SE" sz="1200" dirty="0"/>
          </a:p>
          <a:p>
            <a:pPr>
              <a:buFont typeface="Arial" charset="0"/>
              <a:buChar char="•"/>
            </a:pPr>
            <a:r>
              <a:rPr lang="sv-SE" sz="1600" dirty="0" smtClean="0"/>
              <a:t>Project </a:t>
            </a:r>
            <a:r>
              <a:rPr lang="sv-SE" sz="1600" dirty="0" err="1" smtClean="0"/>
              <a:t>retrospect</a:t>
            </a:r>
            <a:r>
              <a:rPr lang="sv-SE" sz="1600" dirty="0" smtClean="0"/>
              <a:t> (</a:t>
            </a:r>
            <a:r>
              <a:rPr lang="sv-SE" sz="1600" dirty="0" err="1" smtClean="0"/>
              <a:t>internal</a:t>
            </a:r>
            <a:r>
              <a:rPr lang="sv-SE" sz="1600" dirty="0" smtClean="0"/>
              <a:t> Apica)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Participants</a:t>
            </a:r>
            <a:endParaRPr lang="sv-SE" sz="1200" dirty="0" smtClean="0"/>
          </a:p>
          <a:p>
            <a:pPr lvl="2">
              <a:buFont typeface="Arial" charset="0"/>
              <a:buChar char="•"/>
            </a:pPr>
            <a:r>
              <a:rPr lang="sv-SE" sz="1000" dirty="0" smtClean="0"/>
              <a:t>Project test </a:t>
            </a:r>
            <a:r>
              <a:rPr lang="sv-SE" sz="1000" dirty="0" err="1" smtClean="0"/>
              <a:t>lead</a:t>
            </a:r>
            <a:endParaRPr lang="sv-SE" sz="1000" dirty="0" smtClean="0"/>
          </a:p>
          <a:p>
            <a:pPr lvl="2">
              <a:buFont typeface="Arial" charset="0"/>
              <a:buChar char="•"/>
            </a:pPr>
            <a:r>
              <a:rPr lang="sv-SE" sz="1000" dirty="0" err="1" smtClean="0"/>
              <a:t>Performance</a:t>
            </a:r>
            <a:r>
              <a:rPr lang="sv-SE" sz="1000" dirty="0" smtClean="0"/>
              <a:t> </a:t>
            </a:r>
            <a:r>
              <a:rPr lang="sv-SE" sz="1000" dirty="0" err="1" smtClean="0"/>
              <a:t>Engineer</a:t>
            </a:r>
            <a:r>
              <a:rPr lang="sv-SE" sz="1000" dirty="0" smtClean="0"/>
              <a:t>/s</a:t>
            </a:r>
          </a:p>
          <a:p>
            <a:pPr lvl="1">
              <a:buFont typeface="Arial" charset="0"/>
              <a:buChar char="•"/>
            </a:pPr>
            <a:r>
              <a:rPr lang="sv-SE" sz="1200" dirty="0" err="1"/>
              <a:t>Opportunities</a:t>
            </a:r>
            <a:endParaRPr lang="sv-SE" sz="1200" dirty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Risks</a:t>
            </a:r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Food</a:t>
            </a:r>
            <a:r>
              <a:rPr lang="sv-SE" sz="1200" dirty="0" smtClean="0"/>
              <a:t> for </a:t>
            </a:r>
            <a:r>
              <a:rPr lang="sv-SE" sz="1200" dirty="0" err="1" smtClean="0"/>
              <a:t>thoughs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Assets</a:t>
            </a:r>
          </a:p>
          <a:p>
            <a:pPr>
              <a:buFont typeface="Arial" charset="0"/>
              <a:buChar char="•"/>
            </a:pPr>
            <a:r>
              <a:rPr lang="sv-SE" sz="1600" dirty="0" smtClean="0"/>
              <a:t>Feedback to </a:t>
            </a:r>
            <a:r>
              <a:rPr lang="sv-SE" sz="1600" dirty="0" err="1" smtClean="0"/>
              <a:t>Sales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Opportunities</a:t>
            </a:r>
            <a:r>
              <a:rPr lang="sv-SE" sz="1200" dirty="0" smtClean="0"/>
              <a:t> &amp; risk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852160" y="-193638"/>
            <a:ext cx="184731" cy="3024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0242" name="Picture 2" descr="ildresultat för project post morte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2924175"/>
            <a:ext cx="4762500" cy="154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626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– </a:t>
            </a:r>
            <a:r>
              <a:rPr lang="sv-SE" dirty="0" smtClean="0"/>
              <a:t>Support </a:t>
            </a:r>
            <a:r>
              <a:rPr lang="sv-SE" dirty="0" err="1" smtClean="0"/>
              <a:t>tools</a:t>
            </a:r>
            <a:r>
              <a:rPr lang="sv-SE" dirty="0" smtClean="0"/>
              <a:t> - </a:t>
            </a:r>
            <a:r>
              <a:rPr lang="sv-SE" dirty="0" err="1" smtClean="0"/>
              <a:t>Activity</a:t>
            </a:r>
            <a:r>
              <a:rPr lang="sv-SE" dirty="0" smtClean="0"/>
              <a:t> </a:t>
            </a:r>
            <a:r>
              <a:rPr lang="sv-SE" dirty="0" smtClean="0"/>
              <a:t>board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>
                <a:hlinkClick r:id="rId2"/>
              </a:rPr>
              <a:t>Trello board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Kanban</a:t>
            </a:r>
            <a:r>
              <a:rPr lang="sv-SE" sz="1200" dirty="0" smtClean="0"/>
              <a:t> board </a:t>
            </a:r>
            <a:r>
              <a:rPr lang="sv-SE" sz="1200" dirty="0" err="1" smtClean="0"/>
              <a:t>of</a:t>
            </a:r>
            <a:r>
              <a:rPr lang="sv-SE" sz="1200" dirty="0" smtClean="0"/>
              <a:t> </a:t>
            </a:r>
            <a:r>
              <a:rPr lang="sv-SE" sz="1200" dirty="0" err="1" smtClean="0"/>
              <a:t>customer</a:t>
            </a:r>
            <a:r>
              <a:rPr lang="sv-SE" sz="1200" dirty="0" smtClean="0"/>
              <a:t> </a:t>
            </a:r>
            <a:r>
              <a:rPr lang="sv-SE" sz="1200" dirty="0" err="1" smtClean="0"/>
              <a:t>activites</a:t>
            </a:r>
            <a:r>
              <a:rPr lang="sv-SE" sz="1200" dirty="0" smtClean="0"/>
              <a:t> </a:t>
            </a:r>
            <a:r>
              <a:rPr lang="sv-SE" sz="1200" dirty="0" err="1" smtClean="0"/>
              <a:t>implemented</a:t>
            </a:r>
            <a:r>
              <a:rPr lang="sv-SE" sz="1200" dirty="0" smtClean="0"/>
              <a:t> in </a:t>
            </a:r>
            <a:r>
              <a:rPr lang="sv-SE" sz="1200" dirty="0" err="1" smtClean="0"/>
              <a:t>Trello</a:t>
            </a:r>
            <a:r>
              <a:rPr lang="sv-SE" sz="1200" dirty="0" smtClean="0"/>
              <a:t>. Daily </a:t>
            </a:r>
            <a:r>
              <a:rPr lang="sv-SE" sz="1200" dirty="0" err="1" smtClean="0"/>
              <a:t>Stand</a:t>
            </a:r>
            <a:r>
              <a:rPr lang="sv-SE" sz="1200" dirty="0" smtClean="0"/>
              <a:t> </a:t>
            </a:r>
            <a:r>
              <a:rPr lang="sv-SE" sz="1200" dirty="0" err="1" smtClean="0"/>
              <a:t>up</a:t>
            </a:r>
            <a:r>
              <a:rPr lang="sv-SE" sz="1200" dirty="0" smtClean="0"/>
              <a:t> meetings.</a:t>
            </a:r>
            <a:endParaRPr lang="sv-SE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5852160" y="-193638"/>
            <a:ext cx="184731" cy="3024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679003"/>
            <a:ext cx="6477000" cy="2781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3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</a:t>
            </a:r>
            <a:r>
              <a:rPr lang="sv-SE" dirty="0" smtClean="0"/>
              <a:t>– Support </a:t>
            </a:r>
            <a:r>
              <a:rPr lang="sv-SE" dirty="0" err="1" smtClean="0"/>
              <a:t>tools</a:t>
            </a:r>
            <a:r>
              <a:rPr lang="sv-SE" dirty="0" smtClean="0"/>
              <a:t> - </a:t>
            </a:r>
            <a:r>
              <a:rPr lang="sv-SE" dirty="0" err="1" smtClean="0"/>
              <a:t>Calendar</a:t>
            </a:r>
            <a:r>
              <a:rPr lang="sv-SE" dirty="0" smtClean="0"/>
              <a:t> </a:t>
            </a:r>
            <a:r>
              <a:rPr lang="sv-SE" dirty="0" err="1" smtClean="0"/>
              <a:t>overview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>
                <a:hlinkClick r:id="rId3"/>
              </a:rPr>
              <a:t>PS calendar overview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200" dirty="0" err="1" smtClean="0"/>
              <a:t>Weekly</a:t>
            </a:r>
            <a:r>
              <a:rPr lang="sv-SE" sz="1200" dirty="0" smtClean="0"/>
              <a:t> </a:t>
            </a:r>
            <a:r>
              <a:rPr lang="sv-SE" sz="1200" dirty="0" err="1" smtClean="0"/>
              <a:t>calendar</a:t>
            </a:r>
            <a:r>
              <a:rPr lang="sv-SE" sz="1200" dirty="0" smtClean="0"/>
              <a:t> </a:t>
            </a:r>
            <a:r>
              <a:rPr lang="sv-SE" sz="1200" dirty="0" err="1" smtClean="0"/>
              <a:t>view</a:t>
            </a:r>
            <a:r>
              <a:rPr lang="sv-SE" sz="1200" dirty="0" smtClean="0"/>
              <a:t> </a:t>
            </a:r>
            <a:r>
              <a:rPr lang="sv-SE" sz="1200" dirty="0" err="1" smtClean="0"/>
              <a:t>of</a:t>
            </a:r>
            <a:r>
              <a:rPr lang="sv-SE" sz="1200" dirty="0" smtClean="0"/>
              <a:t> </a:t>
            </a:r>
            <a:r>
              <a:rPr lang="sv-SE" sz="1200" dirty="0" err="1" smtClean="0"/>
              <a:t>assigned</a:t>
            </a:r>
            <a:r>
              <a:rPr lang="sv-SE" sz="1200" dirty="0" smtClean="0"/>
              <a:t> </a:t>
            </a:r>
            <a:r>
              <a:rPr lang="sv-SE" sz="1200" dirty="0" err="1" smtClean="0"/>
              <a:t>activities</a:t>
            </a:r>
            <a:r>
              <a:rPr lang="sv-SE" sz="1200" dirty="0" smtClean="0"/>
              <a:t> </a:t>
            </a:r>
            <a:r>
              <a:rPr lang="sv-SE" sz="1200" dirty="0" err="1" smtClean="0"/>
              <a:t>implemented</a:t>
            </a:r>
            <a:r>
              <a:rPr lang="sv-SE" sz="1200" dirty="0" smtClean="0"/>
              <a:t> in </a:t>
            </a:r>
            <a:r>
              <a:rPr lang="sv-SE" sz="1200" dirty="0" err="1" smtClean="0"/>
              <a:t>Smartsheet</a:t>
            </a:r>
            <a:r>
              <a:rPr lang="sv-SE" sz="1200" dirty="0" smtClean="0"/>
              <a:t>.</a:t>
            </a:r>
            <a:endParaRPr lang="sv-SE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5852160" y="-193638"/>
            <a:ext cx="184731" cy="3024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565791"/>
            <a:ext cx="5853327" cy="305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81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</a:t>
            </a:r>
            <a:r>
              <a:rPr lang="sv-SE" dirty="0" smtClean="0"/>
              <a:t>– Support </a:t>
            </a:r>
            <a:r>
              <a:rPr lang="sv-SE" dirty="0" err="1" smtClean="0"/>
              <a:t>tools</a:t>
            </a:r>
            <a:r>
              <a:rPr lang="sv-SE" dirty="0" smtClean="0"/>
              <a:t> - Project </a:t>
            </a:r>
            <a:r>
              <a:rPr lang="sv-SE" dirty="0" err="1" smtClean="0"/>
              <a:t>overview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>
                <a:hlinkClick r:id="rId2"/>
              </a:rPr>
              <a:t>PS project overview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PS Project </a:t>
            </a:r>
            <a:r>
              <a:rPr lang="sv-SE" sz="1200" dirty="0" err="1" smtClean="0"/>
              <a:t>overview</a:t>
            </a:r>
            <a:r>
              <a:rPr lang="sv-SE" sz="1200" dirty="0" smtClean="0"/>
              <a:t> </a:t>
            </a:r>
            <a:r>
              <a:rPr lang="sv-SE" sz="1200" dirty="0" err="1" smtClean="0"/>
              <a:t>implemented</a:t>
            </a:r>
            <a:r>
              <a:rPr lang="sv-SE" sz="1200" dirty="0" smtClean="0"/>
              <a:t> in </a:t>
            </a:r>
            <a:r>
              <a:rPr lang="sv-SE" sz="1200" dirty="0" err="1" smtClean="0"/>
              <a:t>Smartsheet</a:t>
            </a:r>
            <a:r>
              <a:rPr lang="sv-SE" sz="1200" dirty="0" smtClean="0"/>
              <a:t>..</a:t>
            </a:r>
            <a:endParaRPr lang="sv-SE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5852160" y="-193638"/>
            <a:ext cx="184731" cy="3024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555385"/>
            <a:ext cx="5661952" cy="3063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0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17977" y="244475"/>
            <a:ext cx="7866379" cy="575228"/>
          </a:xfrm>
        </p:spPr>
        <p:txBody>
          <a:bodyPr/>
          <a:lstStyle/>
          <a:p>
            <a:r>
              <a:rPr lang="sv-SE" dirty="0" smtClean="0"/>
              <a:t>PS </a:t>
            </a:r>
            <a:r>
              <a:rPr lang="sv-SE" dirty="0" smtClean="0"/>
              <a:t>– Support </a:t>
            </a:r>
            <a:r>
              <a:rPr lang="sv-SE" dirty="0" err="1" smtClean="0"/>
              <a:t>tools</a:t>
            </a:r>
            <a:r>
              <a:rPr lang="sv-SE" dirty="0" smtClean="0"/>
              <a:t> - </a:t>
            </a:r>
            <a:r>
              <a:rPr lang="sv-SE" dirty="0" err="1" smtClean="0"/>
              <a:t>Time</a:t>
            </a:r>
            <a:r>
              <a:rPr lang="sv-SE" dirty="0" smtClean="0"/>
              <a:t> </a:t>
            </a:r>
            <a:r>
              <a:rPr lang="sv-SE" dirty="0" smtClean="0"/>
              <a:t>management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600" dirty="0" smtClean="0">
                <a:hlinkClick r:id="rId2"/>
              </a:rPr>
              <a:t>QBIS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200" dirty="0" smtClean="0"/>
              <a:t>PS </a:t>
            </a:r>
            <a:r>
              <a:rPr lang="sv-SE" sz="1200" dirty="0" err="1" smtClean="0"/>
              <a:t>time</a:t>
            </a:r>
            <a:r>
              <a:rPr lang="sv-SE" sz="1200" dirty="0" smtClean="0"/>
              <a:t> management </a:t>
            </a:r>
            <a:r>
              <a:rPr lang="sv-SE" sz="1200" dirty="0" err="1" smtClean="0"/>
              <a:t>tool</a:t>
            </a:r>
            <a:r>
              <a:rPr lang="sv-SE" sz="1200" dirty="0" smtClean="0"/>
              <a:t> – QBIS. </a:t>
            </a:r>
            <a:r>
              <a:rPr lang="sv-SE" sz="1200" dirty="0" err="1" smtClean="0"/>
              <a:t>Weekly</a:t>
            </a:r>
            <a:r>
              <a:rPr lang="sv-SE" sz="1200" dirty="0" smtClean="0"/>
              <a:t> </a:t>
            </a:r>
            <a:r>
              <a:rPr lang="sv-SE" sz="1200" dirty="0" err="1" smtClean="0"/>
              <a:t>time</a:t>
            </a:r>
            <a:r>
              <a:rPr lang="sv-SE" sz="1200" dirty="0" smtClean="0"/>
              <a:t> </a:t>
            </a:r>
            <a:r>
              <a:rPr lang="sv-SE" sz="1200" dirty="0" err="1" smtClean="0"/>
              <a:t>reporting</a:t>
            </a:r>
            <a:r>
              <a:rPr lang="sv-SE" sz="1200" dirty="0" smtClean="0"/>
              <a:t>, </a:t>
            </a:r>
            <a:r>
              <a:rPr lang="sv-SE" sz="1200" dirty="0" err="1" smtClean="0"/>
              <a:t>follow</a:t>
            </a:r>
            <a:r>
              <a:rPr lang="sv-SE" sz="1200" dirty="0" smtClean="0"/>
              <a:t> </a:t>
            </a:r>
            <a:r>
              <a:rPr lang="sv-SE" sz="1200" dirty="0" err="1" smtClean="0"/>
              <a:t>up</a:t>
            </a:r>
            <a:r>
              <a:rPr lang="sv-SE" sz="1200" dirty="0" smtClean="0"/>
              <a:t> on </a:t>
            </a:r>
            <a:r>
              <a:rPr lang="sv-SE" sz="1200" dirty="0" err="1" smtClean="0"/>
              <a:t>customer</a:t>
            </a:r>
            <a:r>
              <a:rPr lang="sv-SE" sz="1200" dirty="0" smtClean="0"/>
              <a:t> </a:t>
            </a:r>
            <a:r>
              <a:rPr lang="sv-SE" sz="1200" dirty="0" err="1" smtClean="0"/>
              <a:t>engagements</a:t>
            </a:r>
            <a:r>
              <a:rPr lang="sv-SE" sz="1200" dirty="0" smtClean="0"/>
              <a:t> etc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852160" y="-193638"/>
            <a:ext cx="184731" cy="3024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043" y="1732998"/>
            <a:ext cx="3844627" cy="1981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6670" y="1700501"/>
            <a:ext cx="4430052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60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881062"/>
            <a:ext cx="7866379" cy="3495675"/>
          </a:xfrm>
        </p:spPr>
        <p:txBody>
          <a:bodyPr>
            <a:noAutofit/>
          </a:bodyPr>
          <a:lstStyle/>
          <a:p>
            <a:r>
              <a:rPr lang="en-US" sz="1400" dirty="0" err="1" smtClean="0"/>
              <a:t>Organisation</a:t>
            </a:r>
            <a:endParaRPr lang="en-US" sz="1400" dirty="0" smtClean="0"/>
          </a:p>
          <a:p>
            <a:r>
              <a:rPr lang="en-US" sz="1400" dirty="0" smtClean="0"/>
              <a:t>Roles &amp; levels</a:t>
            </a:r>
          </a:p>
          <a:p>
            <a:r>
              <a:rPr lang="en-US" sz="1400" dirty="0" smtClean="0"/>
              <a:t>Career path</a:t>
            </a:r>
            <a:endParaRPr lang="en-US" sz="1400" dirty="0" smtClean="0"/>
          </a:p>
          <a:p>
            <a:r>
              <a:rPr lang="en-US" sz="1400" dirty="0" smtClean="0"/>
              <a:t>Basic tasks</a:t>
            </a:r>
          </a:p>
          <a:p>
            <a:r>
              <a:rPr lang="en-US" sz="1400" dirty="0" smtClean="0"/>
              <a:t>Strategy &amp; purpose</a:t>
            </a:r>
          </a:p>
          <a:p>
            <a:r>
              <a:rPr lang="en-US" sz="1400" dirty="0" smtClean="0"/>
              <a:t>Going </a:t>
            </a:r>
            <a:r>
              <a:rPr lang="en-US" sz="1400" dirty="0" smtClean="0"/>
              <a:t>global</a:t>
            </a:r>
          </a:p>
          <a:p>
            <a:r>
              <a:rPr lang="en-US" sz="1400" dirty="0" smtClean="0"/>
              <a:t>Service catalogue</a:t>
            </a:r>
            <a:endParaRPr lang="en-US" sz="1400" dirty="0"/>
          </a:p>
          <a:p>
            <a:r>
              <a:rPr lang="en-US" sz="1400" dirty="0"/>
              <a:t>Competence </a:t>
            </a:r>
            <a:r>
              <a:rPr lang="en-US" sz="1400" dirty="0" smtClean="0"/>
              <a:t>plan/matrix/mapping</a:t>
            </a:r>
            <a:endParaRPr lang="en-US" sz="1400" dirty="0"/>
          </a:p>
          <a:p>
            <a:r>
              <a:rPr lang="en-US" sz="1400" dirty="0" smtClean="0"/>
              <a:t>Best </a:t>
            </a:r>
            <a:r>
              <a:rPr lang="en-US" sz="1400" dirty="0" smtClean="0"/>
              <a:t>practices</a:t>
            </a:r>
          </a:p>
          <a:p>
            <a:r>
              <a:rPr lang="en-US" sz="1400" dirty="0" smtClean="0"/>
              <a:t>Tools &amp; support systems</a:t>
            </a:r>
            <a:endParaRPr lang="en-US" sz="1400" dirty="0"/>
          </a:p>
          <a:p>
            <a:r>
              <a:rPr lang="en-US" sz="1400" dirty="0" smtClean="0"/>
              <a:t>DevOps &amp; QA partners</a:t>
            </a:r>
          </a:p>
          <a:p>
            <a:r>
              <a:rPr lang="sv-SE" sz="1400" dirty="0" smtClean="0"/>
              <a:t>Focus </a:t>
            </a:r>
            <a:r>
              <a:rPr lang="sv-SE" sz="1400" dirty="0"/>
              <a:t>areas in 2017 </a:t>
            </a:r>
            <a:endParaRPr lang="sv-SE" sz="1400" dirty="0" smtClean="0"/>
          </a:p>
          <a:p>
            <a:endParaRPr lang="en-US" sz="1050" dirty="0"/>
          </a:p>
          <a:p>
            <a:endParaRPr lang="en-US" sz="1050" dirty="0"/>
          </a:p>
        </p:txBody>
      </p:sp>
      <p:pic>
        <p:nvPicPr>
          <p:cNvPr id="7172" name="Picture 4" descr="ildresultat för employee enablemen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971550"/>
            <a:ext cx="2083946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829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S – Partners (</a:t>
            </a:r>
            <a:r>
              <a:rPr lang="sv-SE" dirty="0" err="1" smtClean="0"/>
              <a:t>DevOps</a:t>
            </a:r>
            <a:r>
              <a:rPr lang="sv-SE" dirty="0" smtClean="0"/>
              <a:t> &amp; QA partners)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r>
              <a:rPr lang="sv-SE" sz="1600" dirty="0" smtClean="0"/>
              <a:t>A </a:t>
            </a:r>
            <a:r>
              <a:rPr lang="sv-SE" sz="1600" dirty="0" err="1" smtClean="0"/>
              <a:t>separate</a:t>
            </a:r>
            <a:r>
              <a:rPr lang="sv-SE" sz="1600" dirty="0" smtClean="0"/>
              <a:t> </a:t>
            </a:r>
            <a:r>
              <a:rPr lang="sv-SE" sz="1600" dirty="0" err="1" smtClean="0"/>
              <a:t>sales</a:t>
            </a:r>
            <a:r>
              <a:rPr lang="sv-SE" sz="1600" dirty="0" smtClean="0"/>
              <a:t> and </a:t>
            </a:r>
            <a:r>
              <a:rPr lang="sv-SE" sz="1600" dirty="0" err="1" smtClean="0"/>
              <a:t>delivery</a:t>
            </a:r>
            <a:r>
              <a:rPr lang="sv-SE" sz="1600" dirty="0" smtClean="0"/>
              <a:t> </a:t>
            </a:r>
            <a:r>
              <a:rPr lang="sv-SE" sz="1600" dirty="0" err="1" smtClean="0"/>
              <a:t>channel</a:t>
            </a:r>
            <a:r>
              <a:rPr lang="sv-SE" sz="1600" dirty="0" smtClean="0"/>
              <a:t> from </a:t>
            </a:r>
            <a:r>
              <a:rPr lang="sv-SE" sz="1600" dirty="0" err="1" smtClean="0"/>
              <a:t>Apica’s</a:t>
            </a:r>
            <a:r>
              <a:rPr lang="sv-SE" sz="1600" dirty="0" smtClean="0"/>
              <a:t> </a:t>
            </a:r>
            <a:r>
              <a:rPr lang="sv-SE" sz="1600" dirty="0" err="1" smtClean="0"/>
              <a:t>own</a:t>
            </a:r>
            <a:r>
              <a:rPr lang="sv-SE" sz="1600" dirty="0" smtClean="0"/>
              <a:t> team</a:t>
            </a:r>
            <a:endParaRPr lang="sv-SE" sz="1600" dirty="0" smtClean="0"/>
          </a:p>
          <a:p>
            <a:r>
              <a:rPr lang="sv-SE" sz="1600" dirty="0" err="1" smtClean="0"/>
              <a:t>Strategy</a:t>
            </a:r>
            <a:endParaRPr lang="sv-SE" sz="1600" dirty="0" smtClean="0"/>
          </a:p>
          <a:p>
            <a:pPr lvl="1"/>
            <a:r>
              <a:rPr lang="sv-SE" sz="1200" dirty="0" err="1" smtClean="0"/>
              <a:t>Identify</a:t>
            </a:r>
            <a:endParaRPr lang="sv-SE" sz="1200" dirty="0" smtClean="0"/>
          </a:p>
          <a:p>
            <a:pPr lvl="1"/>
            <a:r>
              <a:rPr lang="sv-SE" sz="1200" dirty="0" err="1" smtClean="0"/>
              <a:t>Establish</a:t>
            </a:r>
            <a:endParaRPr lang="sv-SE" sz="1200" dirty="0"/>
          </a:p>
          <a:p>
            <a:pPr lvl="1"/>
            <a:r>
              <a:rPr lang="sv-SE" sz="1200" dirty="0" err="1" smtClean="0"/>
              <a:t>Enable</a:t>
            </a:r>
            <a:endParaRPr lang="sv-SE" sz="1200" dirty="0" smtClean="0"/>
          </a:p>
          <a:p>
            <a:pPr marL="860425" lvl="2" indent="-228600">
              <a:buFont typeface="+mj-lt"/>
              <a:buAutoNum type="arabicPeriod"/>
            </a:pPr>
            <a:r>
              <a:rPr lang="sv-SE" sz="1000" dirty="0" err="1" smtClean="0"/>
              <a:t>Sales</a:t>
            </a:r>
            <a:r>
              <a:rPr lang="sv-SE" sz="1000" dirty="0" smtClean="0"/>
              <a:t> </a:t>
            </a:r>
            <a:r>
              <a:rPr lang="sv-SE" sz="1000" dirty="0" err="1" smtClean="0"/>
              <a:t>enablement</a:t>
            </a:r>
            <a:endParaRPr lang="sv-SE" sz="1000" dirty="0"/>
          </a:p>
          <a:p>
            <a:pPr marL="860425" lvl="2" indent="-228600">
              <a:buFont typeface="+mj-lt"/>
              <a:buAutoNum type="arabicPeriod"/>
            </a:pPr>
            <a:r>
              <a:rPr lang="sv-SE" sz="1000" dirty="0" err="1" smtClean="0"/>
              <a:t>Delivery</a:t>
            </a:r>
            <a:r>
              <a:rPr lang="sv-SE" sz="1000" dirty="0" smtClean="0"/>
              <a:t> </a:t>
            </a:r>
            <a:r>
              <a:rPr lang="sv-SE" sz="1000" dirty="0" err="1" smtClean="0"/>
              <a:t>enablement</a:t>
            </a:r>
            <a:endParaRPr lang="sv-SE" sz="1000" dirty="0" smtClean="0"/>
          </a:p>
          <a:p>
            <a:pPr lvl="1"/>
            <a:r>
              <a:rPr lang="sv-SE" sz="1200" dirty="0" smtClean="0"/>
              <a:t>Co-market</a:t>
            </a:r>
            <a:endParaRPr lang="sv-SE" sz="1200" dirty="0" smtClean="0"/>
          </a:p>
          <a:p>
            <a:pPr lvl="1"/>
            <a:r>
              <a:rPr lang="sv-SE" sz="1200" dirty="0" smtClean="0"/>
              <a:t>Co-brand</a:t>
            </a:r>
            <a:r>
              <a:rPr lang="sv-SE" sz="1600" dirty="0" smtClean="0"/>
              <a:t>	</a:t>
            </a:r>
          </a:p>
          <a:p>
            <a:r>
              <a:rPr lang="sv-SE" sz="1600" dirty="0" smtClean="0"/>
              <a:t>PS </a:t>
            </a:r>
            <a:r>
              <a:rPr lang="sv-SE" sz="1600" dirty="0" err="1" smtClean="0"/>
              <a:t>plays</a:t>
            </a:r>
            <a:r>
              <a:rPr lang="sv-SE" sz="1600" dirty="0" smtClean="0"/>
              <a:t> an </a:t>
            </a:r>
            <a:r>
              <a:rPr lang="sv-SE" sz="1600" dirty="0" err="1" smtClean="0"/>
              <a:t>important</a:t>
            </a:r>
            <a:r>
              <a:rPr lang="sv-SE" sz="1600" dirty="0" smtClean="0"/>
              <a:t> </a:t>
            </a:r>
            <a:r>
              <a:rPr lang="sv-SE" sz="1600" dirty="0" err="1" smtClean="0"/>
              <a:t>role</a:t>
            </a:r>
            <a:r>
              <a:rPr lang="sv-SE" sz="1600" dirty="0" smtClean="0"/>
              <a:t> </a:t>
            </a:r>
            <a:r>
              <a:rPr lang="sv-SE" sz="1600" dirty="0" err="1" smtClean="0"/>
              <a:t>enabling</a:t>
            </a:r>
            <a:r>
              <a:rPr lang="sv-SE" sz="1600" dirty="0" smtClean="0"/>
              <a:t> </a:t>
            </a:r>
            <a:r>
              <a:rPr lang="sv-SE" sz="1600" dirty="0" err="1" smtClean="0"/>
              <a:t>DevOps</a:t>
            </a:r>
            <a:r>
              <a:rPr lang="sv-SE" sz="1600" dirty="0" smtClean="0"/>
              <a:t> &amp; QA partners</a:t>
            </a:r>
            <a:endParaRPr lang="sv-SE" sz="1600" dirty="0" smtClean="0"/>
          </a:p>
          <a:p>
            <a:r>
              <a:rPr lang="sv-SE" sz="1600" dirty="0" smtClean="0"/>
              <a:t>QA partners </a:t>
            </a:r>
            <a:r>
              <a:rPr lang="sv-SE" sz="1600" dirty="0" smtClean="0"/>
              <a:t>in </a:t>
            </a:r>
            <a:r>
              <a:rPr lang="sv-SE" sz="1600" dirty="0" smtClean="0"/>
              <a:t>the Nordics</a:t>
            </a:r>
            <a:endParaRPr lang="sv-SE" sz="1600" dirty="0" smtClean="0"/>
          </a:p>
          <a:p>
            <a:pPr lvl="1"/>
            <a:r>
              <a:rPr lang="sv-SE" sz="1200" dirty="0" err="1" smtClean="0"/>
              <a:t>SopraSteria</a:t>
            </a:r>
            <a:r>
              <a:rPr lang="sv-SE" sz="1200" dirty="0" smtClean="0"/>
              <a:t> (NO), Sogeti (SE), </a:t>
            </a:r>
            <a:r>
              <a:rPr lang="sv-SE" sz="1200" dirty="0" err="1" smtClean="0"/>
              <a:t>Know</a:t>
            </a:r>
            <a:r>
              <a:rPr lang="sv-SE" sz="1200" dirty="0" smtClean="0"/>
              <a:t> IT (SE), Testhuset (DK)</a:t>
            </a:r>
            <a:endParaRPr lang="sv-SE" sz="1200" dirty="0"/>
          </a:p>
          <a:p>
            <a:pPr marL="0" indent="0">
              <a:buNone/>
            </a:pPr>
            <a:endParaRPr lang="en-US" sz="1200" b="1" dirty="0" smtClean="0"/>
          </a:p>
        </p:txBody>
      </p:sp>
      <p:pic>
        <p:nvPicPr>
          <p:cNvPr id="9218" name="Picture 2" descr="ildresultat för software test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659" y="813353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ldresultat för pair work team wor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1581150"/>
            <a:ext cx="2209800" cy="989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105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8057"/>
            <a:ext cx="8394223" cy="575228"/>
          </a:xfrm>
        </p:spPr>
        <p:txBody>
          <a:bodyPr/>
          <a:lstStyle/>
          <a:p>
            <a:r>
              <a:rPr lang="sv-SE" dirty="0" smtClean="0"/>
              <a:t>PS - Focus areas in 2017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25664" y="951400"/>
            <a:ext cx="7835423" cy="3968114"/>
          </a:xfrm>
        </p:spPr>
        <p:txBody>
          <a:bodyPr>
            <a:normAutofit/>
          </a:bodyPr>
          <a:lstStyle/>
          <a:p>
            <a:r>
              <a:rPr lang="sv-SE" sz="1600" dirty="0" smtClean="0"/>
              <a:t>Global</a:t>
            </a:r>
            <a:r>
              <a:rPr lang="is-IS" sz="1600" dirty="0" smtClean="0"/>
              <a:t>…</a:t>
            </a:r>
          </a:p>
          <a:p>
            <a:r>
              <a:rPr lang="sv-SE" sz="1600" dirty="0" smtClean="0"/>
              <a:t>PS </a:t>
            </a:r>
            <a:r>
              <a:rPr lang="sv-SE" sz="1600" dirty="0" smtClean="0"/>
              <a:t>organisation </a:t>
            </a:r>
          </a:p>
          <a:p>
            <a:r>
              <a:rPr lang="sv-SE" sz="1600" dirty="0" smtClean="0"/>
              <a:t>Best </a:t>
            </a:r>
            <a:r>
              <a:rPr lang="sv-SE" sz="1600" dirty="0" err="1" smtClean="0"/>
              <a:t>practises</a:t>
            </a:r>
            <a:r>
              <a:rPr lang="sv-SE" sz="1600" dirty="0" smtClean="0"/>
              <a:t> </a:t>
            </a:r>
            <a:r>
              <a:rPr lang="sv-SE" sz="1600" dirty="0" smtClean="0"/>
              <a:t>(i.e. Apica </a:t>
            </a:r>
            <a:r>
              <a:rPr lang="sv-SE" sz="1600" dirty="0" err="1" smtClean="0"/>
              <a:t>delivery</a:t>
            </a:r>
            <a:r>
              <a:rPr lang="sv-SE" sz="1600" dirty="0" smtClean="0"/>
              <a:t> </a:t>
            </a:r>
            <a:r>
              <a:rPr lang="sv-SE" sz="1600" dirty="0" err="1" smtClean="0"/>
              <a:t>methodology</a:t>
            </a:r>
            <a:r>
              <a:rPr lang="sv-SE" sz="1600" dirty="0" smtClean="0"/>
              <a:t>™)</a:t>
            </a:r>
            <a:endParaRPr lang="en-US" sz="2400" dirty="0"/>
          </a:p>
          <a:p>
            <a:r>
              <a:rPr lang="en-US" sz="1600" dirty="0" smtClean="0"/>
              <a:t>Rotation </a:t>
            </a:r>
            <a:r>
              <a:rPr lang="en-US" sz="1600" dirty="0" smtClean="0"/>
              <a:t>program </a:t>
            </a:r>
            <a:r>
              <a:rPr lang="en-US" sz="1600" dirty="0" smtClean="0"/>
              <a:t>(between Sweden </a:t>
            </a:r>
            <a:r>
              <a:rPr lang="en-US" sz="1600" dirty="0" smtClean="0"/>
              <a:t>&amp; US)</a:t>
            </a:r>
          </a:p>
          <a:p>
            <a:r>
              <a:rPr lang="en-US" sz="1600" dirty="0" smtClean="0"/>
              <a:t>Service catalogue</a:t>
            </a:r>
            <a:endParaRPr lang="en-US" sz="1600" dirty="0"/>
          </a:p>
          <a:p>
            <a:r>
              <a:rPr lang="en-US" sz="1600" dirty="0" smtClean="0"/>
              <a:t>Resource management </a:t>
            </a:r>
          </a:p>
          <a:p>
            <a:r>
              <a:rPr lang="is-IS" sz="1600" dirty="0" smtClean="0"/>
              <a:t>Competence </a:t>
            </a:r>
            <a:r>
              <a:rPr lang="is-IS" sz="1600" dirty="0" smtClean="0"/>
              <a:t>plan</a:t>
            </a:r>
          </a:p>
          <a:p>
            <a:r>
              <a:rPr lang="is-IS" sz="1600" dirty="0" smtClean="0"/>
              <a:t>Internal </a:t>
            </a:r>
            <a:r>
              <a:rPr lang="is-IS" sz="1600" dirty="0" smtClean="0"/>
              <a:t>processes</a:t>
            </a:r>
          </a:p>
          <a:p>
            <a:r>
              <a:rPr lang="is-IS" sz="1600" dirty="0" smtClean="0"/>
              <a:t>Reporting </a:t>
            </a:r>
            <a:r>
              <a:rPr lang="is-IS" sz="1600" dirty="0" smtClean="0"/>
              <a:t>(metrices </a:t>
            </a:r>
            <a:r>
              <a:rPr lang="is-IS" sz="1600" dirty="0" smtClean="0"/>
              <a:t>&amp; </a:t>
            </a:r>
            <a:r>
              <a:rPr lang="is-IS" sz="1600" dirty="0" smtClean="0"/>
              <a:t>KPIs) </a:t>
            </a:r>
          </a:p>
          <a:p>
            <a:r>
              <a:rPr lang="en-US" sz="1600" dirty="0" smtClean="0"/>
              <a:t>Delivery partners</a:t>
            </a:r>
            <a:endParaRPr lang="en-US" sz="1600" dirty="0"/>
          </a:p>
          <a:p>
            <a:endParaRPr lang="en-US" sz="2000" dirty="0"/>
          </a:p>
        </p:txBody>
      </p:sp>
      <p:sp>
        <p:nvSpPr>
          <p:cNvPr id="3" name="AutoShape 2" descr="ildresultat för qbis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" name="AutoShape 4" descr="ildresultat för qbis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5" name="AutoShape 6" descr="ildresultat för qbis"/>
          <p:cNvSpPr>
            <a:spLocks noChangeAspect="1" noChangeArrowheads="1"/>
          </p:cNvSpPr>
          <p:nvPr/>
        </p:nvSpPr>
        <p:spPr bwMode="auto">
          <a:xfrm>
            <a:off x="304800" y="304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6" name="AutoShape 8" descr="ildresultat för istqb foundation"/>
          <p:cNvSpPr>
            <a:spLocks noChangeAspect="1" noChangeArrowheads="1"/>
          </p:cNvSpPr>
          <p:nvPr/>
        </p:nvSpPr>
        <p:spPr bwMode="auto">
          <a:xfrm>
            <a:off x="457200" y="457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9" name="AutoShape 10" descr="ildresultat för istqb foundation"/>
          <p:cNvSpPr>
            <a:spLocks noChangeAspect="1" noChangeArrowheads="1"/>
          </p:cNvSpPr>
          <p:nvPr/>
        </p:nvSpPr>
        <p:spPr bwMode="auto">
          <a:xfrm>
            <a:off x="609600" y="609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0" name="AutoShape 12" descr="ildresultat för istqb foundation"/>
          <p:cNvSpPr>
            <a:spLocks noChangeAspect="1" noChangeArrowheads="1"/>
          </p:cNvSpPr>
          <p:nvPr/>
        </p:nvSpPr>
        <p:spPr bwMode="auto">
          <a:xfrm>
            <a:off x="762000" y="762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1" name="AutoShape 14" descr="data:image/png;base64,iVBORw0KGgoAAAANSUhEUgAAAQQAAADCCAMAAACYEEwlAAAA9lBMVEX///8KOYzXAAvVAAAAKoXTAAAANIrx8/gALoccRZT2+PsAJoStudQALIbS2Ohiea0bOIt+k74AN4vwrq/i6PMAHYB2iLYAIYIAMYiVpccAG4CJmsEAHYExTZVXY52CirTn6/PI0eM5Vpq5xNsAAHkADnrZOjwAFXxYdKzja2yToseUm79PXJlLaKbDzuH74eP75+iywNr98/OjsNBqgLLZLC7xtbb31dXuo6bXFxoACXtUa6beUVI/YaLrjI/0xsbrlZfmfHziYGDndXndKC3dRkn0zM1FT5Kip8XvnqFncaUzU5s1RpDpg4V4j7zfTU9ohbfnZGuecq91AAAWZElEQVR4nO1daVviStNOJGQlQTLZCGQmJCCIgiK4geio45xxUOac//9n3t6iCenEDcfnBe8PXpill7urq6urujsMs1Y4ONjf39s7Bjg6Od/+77/t65OjvY8u1F/Bwf7Pi4uj2/PL6+vtq5ut00KxWCgc/nd78XPv4KPL9s44gE1+cn+2tXW6AaoNK45weLZ9e3H80aV7bxwcg2a/v746BHUnFd/YAH+KxY2t6y8XKy79oO0vzq9uDk83ilHdEeB/p1tXtxf7qy39exdH55dnUdNvPAJKwMbN/ZeL1a7/wfHtf2eHp4u1Jwycbl0erbb6O744uf5TwCpvI01A4ez+y2prwP0jpPrStUcEFAsbZ0fHqywB+z9Ptn+g9qcQACk4vTo/+uhCviv2brdvaOJPCADc/FlpETjYO/nvFEoAnQDYN24uv3x0Kd8TBxffr04zJQDKQOH0+8/9jy7m++Fg/8vVaaYOQDKwcXb/86OL+Z7YO9mG7ZxFALz343aVjaGD/fOzvE4A9cDW5SozwBx/ucoeCDAFp5dHq8zAwZerQ2j45zCwcXa7wpoQjAXncMjPZgBQsPV9pW3ig/OzjbxeADXB1dEqC8H+xXbeWECEYKVdIwe3Z7kyACdHf1ZaCA6Or58WgstVZoBhLrZPnxKCw5PV7gdHh9lTI8zB6dXFR5fyXXFwcvOUKihcr/TkAFBw+BQFh9errQoOTrae0oaHqz0kPqcj/Lhd5ekBnCA8KQVbJ6tNAXNx9YQUFAsnq60LmOOrtZeCg/snTKNiYcXVIdCHG0+IwY/zFZcC5uf2Uz1he6WdBQD790+Nimcr3hEY5mgr32NS3FrtIBrA/uUTYvBj1YcEIAaHOb5T2BPuV74nHFw/5T1ddX0ILMStfDE4PPnoEr4/bvPFoLi98j2B2bvJ5+Bs5ccE0BUO87XB/cqPCQxznycGwDpafYXI7G/ni8H3NRCD49wJY+HPGogB8yWPg/UQA+Z7rjq4We1gAgYwEvPE4HIdxCBXJRZO18A2ACpxK4+DqxX3omLkcVAorrwDDeEib93Z1jpoRIb5mTM0Fm9Wf7YEcZS3BHUtjIPcvlDYWAPHAcTRRjYHa+A/QsiRg+J6jIyAg0yduB6eA4if2Tsz1kUdMMeZXqRCYS0MZYDjH5kc3KyJSmQObjI5OFwTlcgcXGVxUNxeE5XIMNeZHFytDQffs3wohfOPLtpfQ5ahCCbOH120v4bj6NyGRRTXxTwAuPiSgfVwHnziE5/4xCc+8YlPfOITqwtZSCH1iDa0yuXyqBL68uMbOQksQk7lKhilShmlWTJS+f19TKRFTP3EA341qJucqqqcUlc7IcN0HfgUb5D7cz2VwgK4YTJLIbQk21RwmqYtWWGaJSYcWVTMa4PG41NGadinvPxSTB0+CTEw4vcbgeKwEXRVLDM7JnzMjJ6yFP4JtKuJHAdTleP1xzR5Tuz0U+WqtrgMqJuTiNV+eTis1d7OQu+xOBh84MduD20ncVc3RxUO/lAICbLFsU+gHidBm7ad1BNiexTPFGWsZKani62phvIeDTuDf63BO5OgKTzJ2OEURUTPevoLSXBjJJQkNaoKSJFzSO46F2jPJgFAleDjg9Jg1JiElTeTECgAUdvw4LftPXYHYZfcUdmOVamUZxzP6rjciyQ4Kuzi4kMpUY93FkkYjvUoJ2kymo8mUsSyWE92iV9tURT5qFwihsM/pO+BpgpLg3JnIMzfTEJYAhjh0jpT+M/gsY+VSHMoHQ2NC0aJi/haIIHvILVVJg2rI7U27zlJEkoi4UARS4Ysg5HFGCokD0dKyELY63Q6M1xpPuggTALWjgRJqcLuUKoK36pv7w4IVdyaXHnhuoSrrE4ermieQyWBC/HtTUzCJr5bshMkGC6ulK5UHsdFv0xYENmUhqvgW1z3Mf8OETZe8oHWHmlGdQmKESGDBK1NqhRro37rBSQMEyTIE9KMdi2eizwhLJiJyxARCbEb8ih6GuZoDIfpgeWVyCCh6uImKse57qivJSHSdWol2XZ+pHk2F5QjjQRGIMpUGb2tzilkkDBSF6URIOReSYIs4c4gBovy2+dwvbjFetFIYIgmVntvqDANdBLkr7jUSil+1bijDZHPIKFqks6QVmRlnL9u+8nrVBKIQKW5fCOySNApkuAH/KtIkHexSnMohTdUulagkhCSdGZ/iQQsCc4kPscRJqqu67z9QIL6FAnYYmzwNEpJIr/JGD1JVoxKwgAzJk7fVOU0MnRCmQxHdrzcssXCWdFmRMKoBc2tFp2EJrzX7MbyYDcbTBoPN5OqkUpCl1zsvKHCNGSQ0CW9WOfi1r9vIERtFnYRcK0XSNBq8FYNVXuEGdW9xPwsSoTQzSXUD52EqZNumWUg306AnZUt0cqewgIJMQgen9OABhk5ktWlktAnxou+bD9ElsUYREYq6yhehSbHC8gmwSdGgk2d7sgBUQq9hFKgkOCTJ5Vvz6jXi5BFgsY+zjF5TplVjSc0cjYJhkvRL48gxiTPJtqXkKBiEmRZ8EsS7jjK7tIdUlkkMMNWfKbtKOyolJt5Ngl9m5BQor33QIJDkwR+WpnP5xVr1JPwhJevB8/qnS9CJglM10m4QHSVu5vn5J9NAp5LAXsopL44IuaSSpMEllcRwFQatonuSLV3cExmk8D0Z2bSE8TbesXPSiibhGEkCXTNMlcICYmkKzTPij4bLl8MmFwSGL/rcWLC/cQrQdbULYeESDHSX41I4Pz4VSoJLLtbfoaOfjHySACjW2nEKwlxcEx6z36OJOSSwIs0nRB1B1XFpdAV01p+f8gnAUYeqp6t8o8s8KlZL8ZbdQJdMepej8Dj8IRTt38veebwNAkQjbkXEwdxQi3EM0aHIe29aHRYmF2lPUtGRcdtYVvPqtkL8BwSoBtn9uAu1xWqKDzDTki5jxB6ePgXkx4FmsU4aBOnytJcSgTPIwGg/2BD0h07ORYjcZwo1BaMzGYlKSd0fwJxqgRPFfaFyCABeaJLQz92yZ+Q+Z44oyWUM3cgnmOV2o/6ZALlJDUGlQQDz0J0ka6WXo0Mf8KujWbCifFIJpa0LtIG62wSGIvI0B3tvS7Ri//4ictUEqKrCl27vBq5nqV2clCuRQM+rSFySCBSvNjYOKeJQ+0rdBK6WMeKS55C5ZJgJhkPo8DDC0kgt1iOMo3UCLHughFEJ6FKSFjy+JBLgpq8qumvk4SHOZLup24RR2vKY5YrCU55uaZCLgm8l8gs0mEvlQQmJC6a9CDZIKEEdbGn0EmwlL8vCWxykQVx8fGsT0kojwRmShxs/AJ98gTfsFORVfrocEcoe3s0OoF8EpyEA4OM6CrV2ZtLQhgFHSdJwz+KpmTHIhMkVIiGVTLmL69FVc0jgVUex3bZyjV/c0lgKuRdJb4iSLCwLcnN/PQLFBKqxGLkN9PPvxZw3ZXcxSSoneSSrIgEVikTCTYiLzx/t1gE9GrjgQSZsgRMYEkjqsFDK2rE+uICyrywtjh3kBujaF2HvcRY5FR0eF6PFozwPK/OolYkJMA/ojutDIfzqUIsHl1ZjKXJYHoF3n5IyOEd+/diZsaUsMC70r+hpvVrkcuG7w2tznQGV4Rh934pmE57xEPNzzoTiF6gu5HZ7nhLnExPY0VHJDhBkgRdgrd1kVO4R+eKmWoGeabCRVpsLCUuRQLjB2ZUCZCeGq0AQtLBqaLoOE4by35ypUrkTnhIn1foU/LXIWfNEiZB/E2MkxiU9GxenqXWY6lpEhi5Jj4s6dHZxbwhiDs6f82S6CxVKz5Nwle5kljCpottil/nmSSAMSIwHVrln0+C7rQz/Xuvw1RZWCaoPMTJ5F14z9yVmdATOaQ6eAf8mNAkUfbMxQWHLpUERhgGvAIdxxCg+wGIMbRi3WERqgqSFTenwyW7lfB0OY7H9aX4HqyyHFo9DzSCFHSqGY2QTqiU1Vxyv1sO7mCjStIs6E0m5RgmWNDDTpkCa14bDpY8hX4JBN83DJ+yTvlVACMojOr6Pl78HEf0BB3Lyf4Tn/jEJz7xiU984hOf+MT7Y38vwkeX5OOwv71FcLpwhtiyJlf/D7B3GJ0a9Cd+2ejUx202Z6KvlVCMTVDaaK4s18R2mWEaIn0llzCS4i7mmhcQ+FnpG6VlOtyewF50xF4hfnKSMFPMma5kLMGA+NbsQIZ8s4mc9aErjgEJ/fqYTsKkHY+3lsettugo47GbuXCtO978e5J4EXFwGtcJI1vSGLnDNTML8q2OYodyt4ucIpY9hT46o9v1aU8LEztOgjYIS55aDsNBZvpVW/p7JJxEJCSO1JNMGBkM3TaWSX8wiDUZ8gV9MxMB1Lm7sCKkMXgQZ6PUkJMkwCQDJRIzQIlPfgphtHUakBC9nsg8fA9H1G1Ewm3somGjni4oKG4p1xzXxcFswVOGIyD3DVHXdbgoW9iEy/kbmzz4F+qETQdVwghs177D/riaardGncUV3Eag4OCjMDLrpki2FIlmXYExAt8ECaqww8k1xXQ5CxJueJuDSWvZ+yIgzgkJxfgZm1obL83TNCjjpTE7HHJjWE5BUmcu0IDaV4+XelW4mQ2ubtYm8N8a3A+jQBKE3Va51DF5+HajpU5rPM9lkVBpBaUKh9Zt9U29VgrMkcwI0xnPTuA2u2FbGlZ5FzaGcafP2u9CAjlysrAVv9h3lZh+C+Cup64JI5iC5LBDwQcN9M0uwypiEkB3qHegw7Chq1BcQxuofTJwWKYoAAnJIkG2WxojdEx4u1IHwlRqoZAg6A5ojJbaoP41tM7R8BynJLzHGmAyOBSuM0kwNhUfthL03QtSNGAQxRiRYLmohQAJ8MWKC1XKdFyDgXpzklKMMRJClwN/f9VhLec2INqoooGZKEZh3Gbg/ma4l9rwlOzR6k0ghxEXEt/7TpDQd5xudThHO9sFySWxogUS5nES5JEyGVaHXhtUUwggIbJVzyCharLg0bICB5fQdXoDEggiJDTaHLhtiboBu8NSg3UxEA5+JMzFiAR0dEgosu3W2OVeQoKotlpjrgWq6XtQBmTLzSChZuvgUVuBUWygBN2xg+NhhISwzrbG4zonIhK4dyIBnz5auExcJIpR/uefISRB7Rsa3iv2XBLskaaBV3wUs80nwWUN+CjZamaxtj2KdYfQtfFt+R1J2CumzUWQndJGY2MLHh3Sd6BOEDTtBSTUYQWNBnxvCkPe4EoGCV2XB399DZJggCyA/c1pjyQ0XKgTcObvRsJPTMLpz+RlCQXrQ7PVQIpRg7vWsGJ8IMHMJgGqeXAzaEI9VjYDOGZmK0ZYy+oYKsYJN4BLgusNJqYYoWVdcuHJAu9GwpciPoV64fThir1ZErSAY+E/UxcwUkbx2BgJStDwobFEIyFUWA30qTYc/KuuHQolLtNO4IANYExNGLwetUFPGPDopJ+qzWogfcZzK9CegqPNu5Fwgkm4Wrjse6azKyl4M/igyY1GbhMKqSA1CQlVV4TL8wUOzyKtMTqZgswi5WnLm3sttBHe31T0XYU1F0mAtYOojVmr12ZhxcHoULbuxsg8DFuODS3GUpsflW2kpw3JfB8SzjEJ3xev+6OZ5PVIHLo0laQJ+i2Xv4bRA9NgCA0A/FB1Fw3hWmeCbHu/7EkeOV9Dm9xJ3Wrv12IGPbxWTK6CRzvkqI5AkgJylIY1naJf8FqvgROdvMc+oQcSKF4l33i0zWSDYqflh5R9ODQQ0N6m5yQ/7ld+SJ+a+VJxX0TT6LU5kJwKTML10w+uMjAJ3z+6GB+LS2Q2r8vnOjIASSj8WJfvdWQAfvmwsLUuH+zIACJh+6NL8cGAJBTvU5ezD+HMg+BnPR8f//MSeFmG2fm9DEgSUnpR7u2ibbzTF7l2ZSuoLl7r4/PkfI+2YWwRghW85GQVoxMsx4xGkpAylQRedURVVV+2bVXutVO7V6wx2k1ibLaeQ8LX+kv2ABleezlLogEJhUK6NKxt9UOAF62/l3tmioQ5nkUJg+ecZCN8pW+4zYDh1ZdHwp/UVYFtx+RS1oZRdARt/JDx9g/YgfvDqMNow4YwISQIjeEAvyBb7R6aA0QTAXCrj5mFqfilQeLgqwQJIFuSClYVkcIwhoTQpZKQ/oRNggQjGDeb2GvQ51oaDBPCzfDyrDn/3XTbeLvXqN1ujib4rJ0+22w223AKqI1Flm+OQBosjmVpLEiLRZ0sbLLD8dh1YmonQYI/gdnCualvw1Xixh1aKy5YIPFxRV4mCdcFmtEMSHhQcfJvezYccaiwfR5un6zau7AMgegENQ/53phwrE5rko52ivqB0glrDjxewuh5jjTtQlcAchSDW9PSRJHQKya7aXXEuBc9QUK5NQ0rCvLLBDDG1+CRhtpxZ6WqjtpkaSQAi5HyjTuBVTrVbrcLIwCa4jQYuYNijX10xEBVwSRwE4HpY+U5N1mZMXjkLNKamwbQDy1UwEoLOVuIUyisewYjeK0hIgHuf5sosZBmnATNVoHQd1Awu9aeCUzJhhuZfAm6gCvmdMkknKaNZkHXlXGr1YQhj6oL/3ZbM0RCXBJc0Ii+A5tYmNhltCMd+VetLvSvEo8TVoyEhLkCfXQoHAOD+UAf7NQzSBi4MCC748LboQJorZnwXa0OxajUvpOXSMJ9sXBIIYHlepX53OqCYtZa8NisYYuXaSQIaPeS/w8svTwiihGotF3OppDQQ3ve5qaHSIBnjeBaUkioKtJObWdXgZsugWAOmBnqof2W9G1np6OwSybhJj1ziOsEqN9hXFQRsiUBkACrbyFPO9OYcE3JMykkBCZUoxX7GSTUVAeq11YPBmU69g7jICdnv60Dfdlqq8sk4bxImznER4cKkQSRTkJMEggJmqJMQqDXKCRM0dEpledIQs0O0B5PdPdXfdQwYXyCCVsS2qO51NEBkHCZvhonYQeTMIZdlCjGFAlCD9ZOLiMSujbc49ihkdBB3eFfGImISMjSCVUTbmzX8J6jvhh0myih/hjqBB8taFoaCd8LlOlTgoSBCQ/LqI17TCQJFWWRBKANYIRlhhRjWdmFgyFNMf4yYYylh2wLuiQ8bDIPXXh43bcmDvHcsRPcQcFYpcHTMZeqGE+Kxdv01TgJvsQNZW2GTmbVJKUma5viIgmgt9gluaogO6Fi32lMlcOnS1im13+MpWoqO2AabAsFaFwxLQli7xcEqKcv2kMw72ph3VTmeHzmijAza2AwQqH/pZFwVCxSvnUniM1Hi3FoioFU/+rD318V9U6Zcv9Ai9GDUTafw6Ygqzh3oleHDakpqjS7myljGGmotkU41BubLnqs0uKDTRdFXMOmDYfIcefRcBZ2OaXdbrso85rrTDw0FMJkxgpZ7VeyxUkAaYYW2Hg5JPwsFiluJdkaxSZ9pYkXfMNFMDretGtYO7BoNfgRAuGbhVpIG3nBsGShQg2mXq9hjFCkRK51fpceH2O6PSnoooppFow0haNfj5Ig71jfICyU+RA8Gp2NZ1hWVN/SRPIsNHnwa9ZygjF7heLTDwm+/1BOP2NiKT8+A54XYlOmpOMjltYLsn1lCs9FMT2RXj8UNz66BP8DSC5bW1OcLkbl1xE3FINx7XC9Pp9Gzsb3TxIACd8/ugT/AzihTB3WDhdr9KnwTOyt+doEhIM1X5uwqvg/iTFxQvjMaxY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5909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AutoShape 16" descr="data:image/png;base64,iVBORw0KGgoAAAANSUhEUgAAAQQAAADCCAMAAACYEEwlAAAA9lBMVEX///8KOYzXAAvVAAAAKoXTAAAANIrx8/gALoccRZT2+PsAJoStudQALIbS2Ohiea0bOIt+k74AN4vwrq/i6PMAHYB2iLYAIYIAMYiVpccAG4CJmsEAHYExTZVXY52CirTn6/PI0eM5Vpq5xNsAAHkADnrZOjwAFXxYdKzja2yToseUm79PXJlLaKbDzuH74eP75+iywNr98/OjsNBqgLLZLC7xtbb31dXuo6bXFxoACXtUa6beUVI/YaLrjI/0xsbrlZfmfHziYGDndXndKC3dRkn0zM1FT5Kip8XvnqFncaUzU5s1RpDpg4V4j7zfTU9ohbfnZGuecq91AAAWZElEQVR4nO1daVviStNOJGQlQTLZCGQmJCCIgiK4geio45xxUOac//9n3t6iCenEDcfnBe8PXpill7urq6urujsMs1Y4ONjf39s7Bjg6Od/+77/t65OjvY8u1F/Bwf7Pi4uj2/PL6+vtq5ut00KxWCgc/nd78XPv4KPL9s44gE1+cn+2tXW6AaoNK45weLZ9e3H80aV7bxwcg2a/v746BHUnFd/YAH+KxY2t6y8XKy79oO0vzq9uDk83ilHdEeB/p1tXtxf7qy39exdH55dnUdNvPAJKwMbN/ZeL1a7/wfHtf2eHp4u1Jwycbl0erbb6O744uf5TwCpvI01A4ez+y2prwP0jpPrStUcEFAsbZ0fHqywB+z9Ptn+g9qcQACk4vTo/+uhCviv2brdvaOJPCADc/FlpETjYO/nvFEoAnQDYN24uv3x0Kd8TBxffr04zJQDKQOH0+8/9jy7m++Fg/8vVaaYOQDKwcXb/86OL+Z7YO9mG7ZxFALz343aVjaGD/fOzvE4A9cDW5SozwBx/ucoeCDAFp5dHq8zAwZerQ2j45zCwcXa7wpoQjAXncMjPZgBQsPV9pW3ig/OzjbxeADXB1dEqC8H+xXbeWECEYKVdIwe3Z7kyACdHf1ZaCA6Or58WgstVZoBhLrZPnxKCw5PV7gdHh9lTI8zB6dXFR5fyXXFwcvOUKihcr/TkAFBw+BQFh9errQoOTrae0oaHqz0kPqcj/Lhd5ekBnCA8KQVbJ6tNAXNx9YQUFAsnq60LmOOrtZeCg/snTKNiYcXVIdCHG0+IwY/zFZcC5uf2Uz1he6WdBQD790+Nimcr3hEY5mgr32NS3FrtIBrA/uUTYvBj1YcEIAaHOb5T2BPuV74nHFw/5T1ddX0ILMStfDE4PPnoEr4/bvPFoLi98j2B2bvJ5+Bs5ccE0BUO87XB/cqPCQxznycGwDpafYXI7G/ni8H3NRCD49wJY+HPGogB8yWPg/UQA+Z7rjq4We1gAgYwEvPE4HIdxCBXJRZO18A2ACpxK4+DqxX3omLkcVAorrwDDeEib93Z1jpoRIb5mTM0Fm9Wf7YEcZS3BHUtjIPcvlDYWAPHAcTRRjYHa+A/QsiRg+J6jIyAg0yduB6eA4if2Tsz1kUdMMeZXqRCYS0MZYDjH5kc3KyJSmQObjI5OFwTlcgcXGVxUNxeE5XIMNeZHFytDQffs3wohfOPLtpfQ5ahCCbOH120v4bj6NyGRRTXxTwAuPiSgfVwHnziE5/4xCc+8YlPfOITqwtZSCH1iDa0yuXyqBL68uMbOQksQk7lKhilShmlWTJS+f19TKRFTP3EA341qJucqqqcUlc7IcN0HfgUb5D7cz2VwgK4YTJLIbQk21RwmqYtWWGaJSYcWVTMa4PG41NGadinvPxSTB0+CTEw4vcbgeKwEXRVLDM7JnzMjJ6yFP4JtKuJHAdTleP1xzR5Tuz0U+WqtrgMqJuTiNV+eTis1d7OQu+xOBh84MduD20ncVc3RxUO/lAICbLFsU+gHidBm7ad1BNiexTPFGWsZKani62phvIeDTuDf63BO5OgKTzJ2OEURUTPevoLSXBjJJQkNaoKSJFzSO46F2jPJgFAleDjg9Jg1JiElTeTECgAUdvw4LftPXYHYZfcUdmOVamUZxzP6rjciyQ4Kuzi4kMpUY93FkkYjvUoJ2kymo8mUsSyWE92iV9tURT5qFwihsM/pO+BpgpLg3JnIMzfTEJYAhjh0jpT+M/gsY+VSHMoHQ2NC0aJi/haIIHvILVVJg2rI7U27zlJEkoi4UARS4Ysg5HFGCokD0dKyELY63Q6M1xpPuggTALWjgRJqcLuUKoK36pv7w4IVdyaXHnhuoSrrE4ermieQyWBC/HtTUzCJr5bshMkGC6ulK5UHsdFv0xYENmUhqvgW1z3Mf8OETZe8oHWHmlGdQmKESGDBK1NqhRro37rBSQMEyTIE9KMdi2eizwhLJiJyxARCbEb8ih6GuZoDIfpgeWVyCCh6uImKse57qivJSHSdWol2XZ+pHk2F5QjjQRGIMpUGb2tzilkkDBSF6URIOReSYIs4c4gBovy2+dwvbjFetFIYIgmVntvqDANdBLkr7jUSil+1bijDZHPIKFqks6QVmRlnL9u+8nrVBKIQKW5fCOySNApkuAH/KtIkHexSnMohTdUulagkhCSdGZ/iQQsCc4kPscRJqqu67z9QIL6FAnYYmzwNEpJIr/JGD1JVoxKwgAzJk7fVOU0MnRCmQxHdrzcssXCWdFmRMKoBc2tFp2EJrzX7MbyYDcbTBoPN5OqkUpCl1zsvKHCNGSQ0CW9WOfi1r9vIERtFnYRcK0XSNBq8FYNVXuEGdW9xPwsSoTQzSXUD52EqZNumWUg306AnZUt0cqewgIJMQgen9OABhk5ktWlktAnxou+bD9ElsUYREYq6yhehSbHC8gmwSdGgk2d7sgBUQq9hFKgkOCTJ5Vvz6jXi5BFgsY+zjF5TplVjSc0cjYJhkvRL48gxiTPJtqXkKBiEmRZ8EsS7jjK7tIdUlkkMMNWfKbtKOyolJt5Ngl9m5BQor33QIJDkwR+WpnP5xVr1JPwhJevB8/qnS9CJglM10m4QHSVu5vn5J9NAp5LAXsopL44IuaSSpMEllcRwFQatonuSLV3cExmk8D0Z2bSE8TbesXPSiibhGEkCXTNMlcICYmkKzTPij4bLl8MmFwSGL/rcWLC/cQrQdbULYeESDHSX41I4Pz4VSoJLLtbfoaOfjHySACjW2nEKwlxcEx6z36OJOSSwIs0nRB1B1XFpdAV01p+f8gnAUYeqp6t8o8s8KlZL8ZbdQJdMepej8Dj8IRTt38veebwNAkQjbkXEwdxQi3EM0aHIe29aHRYmF2lPUtGRcdtYVvPqtkL8BwSoBtn9uAu1xWqKDzDTki5jxB6ePgXkx4FmsU4aBOnytJcSgTPIwGg/2BD0h07ORYjcZwo1BaMzGYlKSd0fwJxqgRPFfaFyCABeaJLQz92yZ+Q+Z44oyWUM3cgnmOV2o/6ZALlJDUGlQQDz0J0ka6WXo0Mf8KujWbCifFIJpa0LtIG62wSGIvI0B3tvS7Ri//4ictUEqKrCl27vBq5nqV2clCuRQM+rSFySCBSvNjYOKeJQ+0rdBK6WMeKS55C5ZJgJhkPo8DDC0kgt1iOMo3UCLHughFEJ6FKSFjy+JBLgpq8qumvk4SHOZLup24RR2vKY5YrCU55uaZCLgm8l8gs0mEvlQQmJC6a9CDZIKEEdbGn0EmwlL8vCWxykQVx8fGsT0kojwRmShxs/AJ98gTfsFORVfrocEcoe3s0OoF8EpyEA4OM6CrV2ZtLQhgFHSdJwz+KpmTHIhMkVIiGVTLmL69FVc0jgVUex3bZyjV/c0lgKuRdJb4iSLCwLcnN/PQLFBKqxGLkN9PPvxZw3ZXcxSSoneSSrIgEVikTCTYiLzx/t1gE9GrjgQSZsgRMYEkjqsFDK2rE+uICyrywtjh3kBujaF2HvcRY5FR0eF6PFozwPK/OolYkJMA/ojutDIfzqUIsHl1ZjKXJYHoF3n5IyOEd+/diZsaUsMC70r+hpvVrkcuG7w2tznQGV4Rh934pmE57xEPNzzoTiF6gu5HZ7nhLnExPY0VHJDhBkgRdgrd1kVO4R+eKmWoGeabCRVpsLCUuRQLjB2ZUCZCeGq0AQtLBqaLoOE4by35ypUrkTnhIn1foU/LXIWfNEiZB/E2MkxiU9GxenqXWY6lpEhi5Jj4s6dHZxbwhiDs6f82S6CxVKz5Nwle5kljCpottil/nmSSAMSIwHVrln0+C7rQz/Xuvw1RZWCaoPMTJ5F14z9yVmdATOaQ6eAf8mNAkUfbMxQWHLpUERhgGvAIdxxCg+wGIMbRi3WERqgqSFTenwyW7lfB0OY7H9aX4HqyyHFo9DzSCFHSqGY2QTqiU1Vxyv1sO7mCjStIs6E0m5RgmWNDDTpkCa14bDpY8hX4JBN83DJ+yTvlVACMojOr6Pl78HEf0BB3Lyf4Tn/jEJz7xiU984hOf+MT7Y38vwkeX5OOwv71FcLpwhtiyJlf/D7B3GJ0a9Cd+2ejUx202Z6KvlVCMTVDaaK4s18R2mWEaIn0llzCS4i7mmhcQ+FnpG6VlOtyewF50xF4hfnKSMFPMma5kLMGA+NbsQIZ8s4mc9aErjgEJ/fqYTsKkHY+3lsettugo47GbuXCtO978e5J4EXFwGtcJI1vSGLnDNTML8q2OYodyt4ucIpY9hT46o9v1aU8LEztOgjYIS55aDsNBZvpVW/p7JJxEJCSO1JNMGBkM3TaWSX8wiDUZ8gV9MxMB1Lm7sCKkMXgQZ6PUkJMkwCQDJRIzQIlPfgphtHUakBC9nsg8fA9H1G1Ewm3somGjni4oKG4p1xzXxcFswVOGIyD3DVHXdbgoW9iEy/kbmzz4F+qETQdVwghs177D/riaardGncUV3Eag4OCjMDLrpki2FIlmXYExAt8ECaqww8k1xXQ5CxJueJuDSWvZ+yIgzgkJxfgZm1obL83TNCjjpTE7HHJjWE5BUmcu0IDaV4+XelW4mQ2ubtYm8N8a3A+jQBKE3Va51DF5+HajpU5rPM9lkVBpBaUKh9Zt9U29VgrMkcwI0xnPTuA2u2FbGlZ5FzaGcafP2u9CAjlysrAVv9h3lZh+C+Cup64JI5iC5LBDwQcN9M0uwypiEkB3qHegw7Chq1BcQxuofTJwWKYoAAnJIkG2WxojdEx4u1IHwlRqoZAg6A5ojJbaoP41tM7R8BynJLzHGmAyOBSuM0kwNhUfthL03QtSNGAQxRiRYLmohQAJ8MWKC1XKdFyDgXpzklKMMRJClwN/f9VhLec2INqoooGZKEZh3Gbg/ma4l9rwlOzR6k0ghxEXEt/7TpDQd5xudThHO9sFySWxogUS5nES5JEyGVaHXhtUUwggIbJVzyCharLg0bICB5fQdXoDEggiJDTaHLhtiboBu8NSg3UxEA5+JMzFiAR0dEgosu3W2OVeQoKotlpjrgWq6XtQBmTLzSChZuvgUVuBUWygBN2xg+NhhISwzrbG4zonIhK4dyIBnz5auExcJIpR/uefISRB7Rsa3iv2XBLskaaBV3wUs80nwWUN+CjZamaxtj2KdYfQtfFt+R1J2CumzUWQndJGY2MLHh3Sd6BOEDTtBSTUYQWNBnxvCkPe4EoGCV2XB399DZJggCyA/c1pjyQ0XKgTcObvRsJPTMLpz+RlCQXrQ7PVQIpRg7vWsGJ8IMHMJgGqeXAzaEI9VjYDOGZmK0ZYy+oYKsYJN4BLgusNJqYYoWVdcuHJAu9GwpciPoV64fThir1ZErSAY+E/UxcwUkbx2BgJStDwobFEIyFUWA30qTYc/KuuHQolLtNO4IANYExNGLwetUFPGPDopJ+qzWogfcZzK9CegqPNu5Fwgkm4Wrjse6azKyl4M/igyY1GbhMKqSA1CQlVV4TL8wUOzyKtMTqZgswi5WnLm3sttBHe31T0XYU1F0mAtYOojVmr12ZhxcHoULbuxsg8DFuODS3GUpsflW2kpw3JfB8SzjEJ3xev+6OZ5PVIHLo0laQJ+i2Xv4bRA9NgCA0A/FB1Fw3hWmeCbHu/7EkeOV9Dm9xJ3Wrv12IGPbxWTK6CRzvkqI5AkgJylIY1naJf8FqvgROdvMc+oQcSKF4l33i0zWSDYqflh5R9ODQQ0N6m5yQ/7ld+SJ+a+VJxX0TT6LU5kJwKTML10w+uMjAJ3z+6GB+LS2Q2r8vnOjIASSj8WJfvdWQAfvmwsLUuH+zIACJh+6NL8cGAJBTvU5ezD+HMg+BnPR8f//MSeFmG2fm9DEgSUnpR7u2ibbzTF7l2ZSuoLl7r4/PkfI+2YWwRghW85GQVoxMsx4xGkpAylQRedURVVV+2bVXutVO7V6wx2k1ibLaeQ8LX+kv2ABleezlLogEJhUK6NKxt9UOAF62/l3tmioQ5nkUJg+ecZCN8pW+4zYDh1ZdHwp/UVYFtx+RS1oZRdARt/JDx9g/YgfvDqMNow4YwISQIjeEAvyBb7R6aA0QTAXCrj5mFqfilQeLgqwQJIFuSClYVkcIwhoTQpZKQ/oRNggQjGDeb2GvQ51oaDBPCzfDyrDn/3XTbeLvXqN1ujib4rJ0+22w223AKqI1Flm+OQBosjmVpLEiLRZ0sbLLD8dh1YmonQYI/gdnCualvw1Xixh1aKy5YIPFxRV4mCdcFmtEMSHhQcfJvezYccaiwfR5un6zau7AMgegENQ/53phwrE5rko52ivqB0glrDjxewuh5jjTtQlcAchSDW9PSRJHQKya7aXXEuBc9QUK5NQ0rCvLLBDDG1+CRhtpxZ6WqjtpkaSQAi5HyjTuBVTrVbrcLIwCa4jQYuYNijX10xEBVwSRwE4HpY+U5N1mZMXjkLNKamwbQDy1UwEoLOVuIUyisewYjeK0hIgHuf5sosZBmnATNVoHQd1Awu9aeCUzJhhuZfAm6gCvmdMkknKaNZkHXlXGr1YQhj6oL/3ZbM0RCXBJc0Ii+A5tYmNhltCMd+VetLvSvEo8TVoyEhLkCfXQoHAOD+UAf7NQzSBi4MCC748LboQJorZnwXa0OxajUvpOXSMJ9sXBIIYHlepX53OqCYtZa8NisYYuXaSQIaPeS/w8svTwiihGotF3OppDQQ3ve5qaHSIBnjeBaUkioKtJObWdXgZsugWAOmBnqof2W9G1np6OwSybhJj1ziOsEqN9hXFQRsiUBkACrbyFPO9OYcE3JMykkBCZUoxX7GSTUVAeq11YPBmU69g7jICdnv60Dfdlqq8sk4bxImznER4cKkQSRTkJMEggJmqJMQqDXKCRM0dEpledIQs0O0B5PdPdXfdQwYXyCCVsS2qO51NEBkHCZvhonYQeTMIZdlCjGFAlCD9ZOLiMSujbc49ihkdBB3eFfGImISMjSCVUTbmzX8J6jvhh0myih/hjqBB8taFoaCd8LlOlTgoSBCQ/LqI17TCQJFWWRBKANYIRlhhRjWdmFgyFNMf4yYYylh2wLuiQ8bDIPXXh43bcmDvHcsRPcQcFYpcHTMZeqGE+Kxdv01TgJvsQNZW2GTmbVJKUma5viIgmgt9gluaogO6Fi32lMlcOnS1im13+MpWoqO2AabAsFaFwxLQli7xcEqKcv2kMw72ph3VTmeHzmijAza2AwQqH/pZFwVCxSvnUniM1Hi3FoioFU/+rD318V9U6Zcv9Ai9GDUTafw6Ygqzh3oleHDakpqjS7myljGGmotkU41BubLnqs0uKDTRdFXMOmDYfIcefRcBZ2OaXdbrso85rrTDw0FMJkxgpZ7VeyxUkAaYYW2Hg5JPwsFiluJdkaxSZ9pYkXfMNFMDretGtYO7BoNfgRAuGbhVpIG3nBsGShQg2mXq9hjFCkRK51fpceH2O6PSnoooppFow0haNfj5Ig71jfICyU+RA8Gp2NZ1hWVN/SRPIsNHnwa9ZygjF7heLTDwm+/1BOP2NiKT8+A54XYlOmpOMjltYLsn1lCs9FMT2RXj8UNz66BP8DSC5bW1OcLkbl1xE3FINx7XC9Pp9Gzsb3TxIACd8/ugT/AzihTB3WDhdr9KnwTOyt+doEhIM1X5uwqvg/iTFxQvjMaxY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5909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4" name="AutoShape 18" descr="data:image/jpeg;base64,/9j/4AAQSkZJRgABAQAAAQABAAD/2wCEAAkGBxMTEhUTEhMWFRUXGBcYGBgYGBcdHhoeHxsXIB0YGyAfICghHx4lGxsdITEiJSotLi4uGSIzODMsNygtLisBCgoKDg0OGhAQGjImICUtLTAtKy0rLS8tLy8tLS0uLS0tLS0tLS4tLS0tLS0tLS0vLTUtLS0tLS0tLS0tLS0tLf/AABEIAKgAwAMBIgACEQEDEQH/xAAcAAACAgMBAQAAAAAAAAAAAAAGBwAFAQMEAgj/xABFEAABAwIDBQUEBwcDAwQDAAABAgMRAAQFEiEGMUFRYQcTInGBMpGhsRQjM0JygtEVUmKSosHwFkNTc7LhRMLT8SQ0Y//EABoBAAIDAQEAAAAAAAAAAAAAAAACAQMEBQb/xAAvEQACAQIEBAMIAwEAAAAAAAAAAQIDEQQSITETQVFhcZGhBRQiMkKB4fBSwdEj/9oADAMBAAIRAxEAPwB41KGsZ29w61K0vXSErROZAkqB00gazruodd7YLRZi1t7u6P8A/JowNeMwR7qAWoxprzNKq47R8RUfq7Blgc37gEnfwSARVJc7UYq4PFfNM7tGGcxG/cVQDw40rmkXRw9SW0R45qq8R2js2JD1yy2RMhS0yI6TNIS8s1PAC5urq4HFK3SEHSPYExvOuatTGC26RCWU+Zkn40rqxL44Cq99Br4j2u4W1OV5Tp4BtCjO7cdB8aorztmUTFthryxB8Tqw37gEqkR1FCaEAbkgeQA+Qr1SOt0RfH2b1l6Fo/2i4u57DdswPJSjv6nlVWMYxYnMrE1g8ktojyjTSpUpeLJmhYCjHdepdWW3WJtaFxi4AH321IJ3cUqOtEFl2pHdcWS08iy4hweZCggj0mgWvDjgTqogeZAo4siJYGj4DhstvLBzTvu7Mx9alSPioR8aIba6Q4nM2tK080kEe8aV82XG0Fsje4CekmsWV7cLVmtLN7Mdzh+qOvIjUjTWDVnEaV5aGGphqUdpn0yFVkGk7hCNo8sh1lPJDsq5ayRPSjTBsevkoSLyxV3kwVMLbUkiPbIUpKhJ0gA8NeUqrB7MySjYL6lVbeOtEEqDiI3lbawOHGIO/gaqsb2/srYStzPzyQR75j0Bp8yBRb2QU1KHtn9trG8gW9whSjuQTlV/KYNEANSKZqVKlAEqVKlACHxbCbvDXri6uLJu7adcU4t9BKlIBUTuWDlABjdHh31m32gtLwQ3dqaV/wAbpyjXhy9QTvp7EUre13s/tnbR66YZSi4bSXJQIzgRmBSNCYnWllBM0UcVOlsC1/hzjOq0nJvzpEpjmYmB1OnWuNCwRmSQQeI1B9aHuz5GIO979DuAnuggltwkpUFZhoIIER0q6xDGO7XGJ2C2FKIH0hglIV5xoriTqT0ql0mdCGPT30OmpWi2tlOibK6auhv7tz6t3ykaE+g8q5H8V7pWS5act1bhnEpPPKoCDw99Lw2aViIc9P3qWQFctziLSPacSPUH5VWX2Et3IlFwvnGbOnzyzND9zszcNmUgLH8P6GiMIvdlVavUhrGF11v/AIX7+1bA0RmcMwAkRPvrfbuYg99lZlA/eckevijSOhrr2a23tmklD7CbdxIGrbZ8XpEg9Dp1rsHaSFaW1o66easoA9wV8YqqbqJ2jT+7ZieJqS+q3ZI122w2Iv8At3KUdGkFXnr4R8avrLslt0nNcuFaubq9fcn5EmqV7arFHdIaZTroSpRHoDH/ANVxOM3Ln2146roiGxHLw6kUuWs95JeH4/0I0atTl5jMtMIwuzEnu09YSn47/jxqHtBsG5DUuEaHu05veRPxpXfs+3bOZSUA78yzJ/q1rTcbS26NAoq6JHy4fGoWH1ve/wC/dlnuqh88khjv9o7pH1NrH/UXl+CZJ9YqtuNsb1f+4lA5NoHzMz8KX9ttC8+rJa2qnFdJVHUgCAPMxRDY7GYm+AXnkWw5JAUr3DT+qrlhyVPDw2TZtv8AElK8b7pO8ytU+6THuoWW+m4cysMLu3B0JSnrA0Hw8zTIwvs5s2zmdC7lfFTyp+A098+dFjLSUJCUJCEjclIAHuFXxgoi1MRKaskkhFpabujCEm3uWTplgQQeY5KG/eDT57LdrF4hZ946jK60stORuUoJSc48wR6zSF2wSGMZXk8ILrajH8QSVe8kn1pn9gy8q8SZ1hDrawOHjDg0HA+EfDlTLR2MtWSnHNbVOz7jeqVKlOZyVKlSgDE0K7ZbY2Fs063cXDeYoWktg5lagiCBJG/jSn2mx96/xC6tlXzrFqyvKltsarA8KxMpJkydZEcDGt5g+x2HhspaAhQyqdIzrAPtRyJGmg039KVzSNFLDTqRzLY1dhOyyvojt0TlLqglEjQpROvqon+WmBd4asAhScySIOkgjkR/4q8wruUNoaYyhCEhKUp4AQN3+b67QancqUnHQUONdntjceIN9yvfnage8Hw/5vqme2exW2GVp1u+Zj7N4CYA0HiJ/wC7hwp33Foheqk+u6q24wTihU9D+tQ0PGaW2h87XqLJa8tww9hlxwUkFTfnlMGPIgda2/s+/bSXGHG71oby2cxHmPaHxp0YzhqinK4yl1B3oWdD5GCJ+fMUt8S2YsO8Hduu4bcGcsnKk/hMwfyr86hq5bGo4u69NPwCTe1DSjluGSkjQyAoD0IkfGup/axhI8OZXQCPnVjtdsxijjSUrDd2kEFLyAkOECd5MEp9+6h/ZDYVy9W6kupZLK8jiVJJWk6j2dOII3jUUvDiP73VjovO2pquNsVn2G0p6qM/ICuVi+vrpWRnvFnk0k6dSRu9abeCdmlixBWlT6+bm7huSNOHGd++iG6xC1tEBK3GmEjcmUp4fuj5xxplGK2QjqVZfNLQUuE9lV27q+tDA4z41eoBj40c4P2a2LEKWhT6ubm7+UafOtV32ksnw2bLt0rUCBkQOpUZPw9ao8axbFXm1qDjduACQhqcxEbs+8acuVDkluwpYec1eEWxhXuI2tmgJccaYSNydE+5I3+cVXWm0LtyJs7Y5JEPPy2gjmlIla/gKE+yuwsbhKnFJLl0kjOXiF79y0A8Op1B47qZ3+f50qRFdnHbWShBdcU6ryyI9EAn+oqrqdUACVEJAGpJ0AG8npQzjm31nbnKF9+5wQ1CteRO4UGY7jl9ftlrIm1ZVvTJUtQ00J005iBNQPFOWkVcG8dvE3uKKcanIpYgniEASryMaeYppdg9wF3OKKG4m2j0D4n4UtrzubJspRq6pJAPHzPIdKffZdsv9AsG21CHV/WO88xA8J/CIHpRF31FrR4ccj33fbsGFSpUpzMSpUqUAD20+xtnfAfSGgVj2XE+FafJQ19DSwxjYrEbBXeW5VeMj90Q8kdRMOact/IU8K8LFQ0nuPCpKm7xYkcG20bd0XqpO+AUrSeMp3g+VG2G7TOKAU2tLyBAUlUhQ/MNQeigZ5ppddtqF3GJNs27ELabCluJSAVFe4qUOACYE66mqQfSreFrHfQNXGjC08/MfOqX8LsmdCNWNaP/AEj9x8M7QWzsIcJZWYyhZykk8ELByqPQHjurseNw1qgB9PFJIQ55pPsqP8JCfxcKTmFbZd4ghaU3DZ0JGULHRaD4VD3eRokwLEjE2F1ASNWHAVoExvSSHG/QgCd1Op9SieE5wYd220tutzuVq7l4/wC08Miju9mdFjWJSSJFbsRwJh5JQ42kpO8EAg+h0oUuNqmFt91itqltBMFZAdYMyJzQCj8wG8CTXQ3glwhIdwm+BaIlLL0utHohebMgRIjxDduin0ZlalF2ZQ4r2YPMkuYVdKtyZlkkltXoZAOu+D6UD4K7fMY2hN20GnH0qSsAQlaQkkLEGDqka9N1NFPaGbdQbxS1csySEh0fWMqPRYGmmsEc6W23+ODEcYtm7ByC2kID6NfakrWN0hKSeOuu6gE2MXEMMS8IUt0Dk24tH/YQfjSa7QtnEWFy262jMy5rlUSrxJjMkk66gg+vSmQLa3sQHLy+dcXl0LrqgD+FtJiJ3TJ60G9om2Dd3bFtq3WpvMlQeX4QI3FCd5mSJMb92tQWvrzGAwLNkFoCARrpuB4SBAPlXDj1i23kLZPik666aRHvqlw8w22ViYSiQZB3CQZ13iiTHrxtTCHCmCoGJ4AaqPlWBvNfQ9bCDozg0209+mws2S5Y4iV2qW1qcbWQlRgJzEST0kTHI11Ymm4uJN7dEonVtHgb9efrQqMfWbh11CMy3DlQNTCeAAG8xHxq1Y2UuropVcLyzuREqHQDcK1SeVLM7Hnb0pTk4Rvq7LlY1u49bsDLbNhR3TuHqd6q58Jxhl54/T37ltqIAtggRzKpPsgcAFE9OJ1hXZqyj2wFHmoz8BAoqtcBZQnLEjloB7hpWSWPpR2Vx3QrTVm7Loin2H2c2fLyXm7xT7iSkpRcLSmFcFZcqZPnO6nQFUqL/ZGydHjtm/NIyn3pqo/0m5aSbHEHrYb+7UQpE8wDpw4g1ZT9oUpaO6M0sFUW2o8JqTSbstvcVY+1bt7tP8JLSvfBHrFFuzHaK1dOpt1sP27yholYBSoiZyrToYjiBWuM4y2ZmlTnHdBxUrCazTiGFUqbLbDE7pjv0Ls2GpyyEuuqBBIIKZgHdoTxFNZVKnHbJOGX+eIsb85XBHhafO5W/RKwd/6U0Em7MCq2evXF314t97vVdywcwbDYgFzQJClaDnPGrLDMSZvVOgJENKCM06zEmD7vjQZtyw5YXKbhEkQW18Mw3on1Bn8NcXZrcqQ04pJ8QcJOvNKBqORM+6ubj8Hac6nhY6OEr6Rp+IT47sQhZ7xslKx99HhUPPgoUJXjTzJl9ClhJ8L7UpcR1IHiHp7jTYsb0OiU6Eb08uvlXu6tEOe0NeY0NYKWNnTdp6o2OknqtBf4VtdcITPhvGuJBCXQOv3VeoE1Z4S5avrK8OuFWdyfaCBlzaGA40fCsSTu15HnpxvYiVFxlRQv95sCT+JO5X+bqEMVtCNLxoEDTv2wZH4hvHxrp0q8J6xZTOLStJfvZ7oab+2N6w2pu8sBeoUFALt9yj91LjRBKQeKhMcjS6wTZXEQ84+hKbMuTogJlAJByo1OXdG+a92e015ao7wOJvLcfvHxgcs2vvM1yYt2oXLghhtLI5k51e8gD4VoTk9jK4UIO8r+H5Lo7HpYSXnlIni48uSSBzPHoKFcavUXa2bdkyVupEwYk+EdfvTXBa4Td3qu9WVGf9xwnd/DzHQaVe7M4IhnE2kznDKC8okASQkxA4QSOdKsqer1LHUlOOSEbRbSGE9bhy5UlGiSojyA3mqXtTve5bUkcUpaQBwkSfhRBs3cQ7lyypX3piBqTw46UI7VnvsUaCjKUBbgHUGNfcDWWna1/H0O3jZzgnFco2X30ubMAwhLDaEJQO8IAUQNSeImjfC8ODYk+0ePAdBQeraZm3BPeozfzHyETVDifaIkmEoW51Uco9AJn1is06NaszncWnSVrjTfxBtG9YPlr8qr7raBKRKUwOa1AD/PWk4/tdduqCUQknQBCZJ6DeTWy22RxK6IUpl0z9545fXxax5CrKfs1fUyiWOX0oOcS28aTIL48mxP+e+hW+2+JP1bR/EtUn3D9ascP7IblWrz7bXQBSyPkPjV32RYBbMYndh51KlW2VDIcCU5iomVgEkSkJA4+0K1wwtKPIzTxVV9gdwrC8ZxGCy0tDaty/s0QeIUfEodUzTB2M7HF21w3d3F2pTqFBQS2OPJS1SVCJEADzptA17mtKilsZpTct2YQK9VKlSKYIqn2uwlq5s3mXhmQpCj1BAkEdQQDVLt5tqbB21ZShtRuS4kLcWpKWynuwkqCUqJBK44RG+hftJxJxu2Uq7ulnPKG2LdJaStRAgKVKlqAOvtJndBqVFsAf2Gx36fa9w4ZuGAMpnVxHLqYH+TVdi2CZiHrYhl5M6jQKB4Kiu7DcLbXhNriFhIeswpL6BqViczkwPaE5h0NWj1yl9KX24IWJVAiCePOFb/ADkVqptVI5ZEap3QMbP7V/Wd099S+nQzoFc/Xpu5UeWWNA6ODKeY3H9KEcawJq5T4xChuWN4/UdDQ+3e3FgQi4Hes6AODeOh/Q+lcnGezF80ToYfG2+GY5AZ6zuoffdbfvU27YzqSjM7+7qQEJ6kmZ5AceFVhuJZ0AsuShWmh/yCK2diqw+9dXBEKU5pPBKU+EefiM+lcynhsuaT5bGnEVrRSi9zuxvsuaWhxxCxarIM92MyVTwUnQQenxoOsNjWbdRDh75aTEkeGeif1pmX+Ll6/eYCvBbNtyAfaW7JzHllSgAb/bmsKtm0KW4RJ1Mnh0FPPETpvJf98SvD0YyjnaBNQjfpu0j+1UWyS2rjELlxvUJtzlO6TKZNeMexsqt7l0HestpPOYCiOkz6Jrqw3ZdWE3Vm6twKS8VW750ypUoHKEydxjef3TzArdh6Ts29wq1stSNtk0wissTSwlbpgECATuHEqPlpQFtfZ/Sctw04lSEjK5GsCZKjHAcRHDjV3tLZOvLbsm9FurIUo/dQiMxPvGlF9psBZN5e7bWlQgZ0rWFKjiYPHiN1TRg7KR0PaOKhxJUrXTtd317W8P7BTDuyBBhT10VJI3NIA37iFKJ0j+HjRRh3Z5h7UHuO8PNxRV8N3wq7aeYYCWA4mUiAicy4G7wiVfCu1CpEwR51quzhqC5Gqzs22gA02hsfwpCflXHe48w2ooz53Bp3bYLi+G9KQSN43xE13XJTklyAjiVRHWZ099DdxttZtDJb5nyNMluiQPXRIFRcl9jXc4xiTulrZBkQCHLlaZO/7iZjduJNBV/g17YvrurkJfad+2cbEhMkbwQOnDhRDdbR4i9o221ap/iJdX/ZNC2KG2zZ727XdOCSApRIExOVKdBMDTpSSqR238B1SkrS28QswjGXUJzWlypKTuHtt+WRR037kxRBadpr7X/7dp3iBvdtiSfMtK15kwo+VKFzbBtsZLW3Sgc1RJ9E/wBzxqys9lcaxCPqlttniv6pPuPiIMcqSlGqn277hVlRku/Y+itm8eZvWA/bqKmySJIIMjQgg61aUH9l+ybuG2imHXQ6pThc8OaEylIyieoJ4b6MK0mMCe1fZX6fYLSkS81LjUbyQDKfzJ0jnHSgzCHE41g5aVHfJGQk8HEiUL/MCPeqnRSWxVv9k42Feza4hv5JcnU+ilAzwDpp6bs7dQZ09ld9M3O7vSLe/aP3Hk6Nv5SBo4CQv+LnrFZjeEfs68VazFvcZnbc/uEEFbPKEmFD/wA1bOufsvF0XB0tb8909vhDo9lZ85+K9dDR7trs4L61UzOVwQtlfFtwTlUPkehNCbhMBVWz5UmSIWNFDfB5A8uIPIihy72wbC1Mqt3CqcpT4TPTrOkc670XagC6tBQ42e6uUaSMsyeuWSoR91R36VXbbYL3qPpDUZ0CTH3k75EcRw6E8q1ylJq8RbLmcVpht0HO+sbZ9sb1IdCQk8RAJkz5etdXZxtD+ynl/SmXG0ulAkpIAy59IOp0XvB4DzpkdlmLIvmSpYSpaEhKwdYM+1+bf76LMYwBt5soyI/CQCFdCK4FTETk5KcfI0W0VmK7YjFUv4libgUFBxwFBG5SEqcCSPyZaJdrXctq4eh38dDpQJjmDHC7xD7aFoYUFByAT3Z8+RkR60QjGBcslOZK0HQlO+OR9KzV6earGrHbT0N+GmuG4c1cW+MNqTh1skDwkqUo8iQSkesn3UW7c9olpcsO27TS3M+5aoQEneFAGVEggaQOOtVey/dvNKs7kZiyuCkGCUg/dPQgieRFMPDV2NqmbdgJMDckZvMqOvuNdKNSMW1J9/MzSpzkk47beQJ4FaYg+q3WQbd5KXE9662o5kEAFWUgeLwjRW/Q7jRgjZgZc15dPXOnizr7tr1QkhMfiJrmu9o3CCRlaTxMgn1UYAPpQbi21dtMuLNwobvvR5T4R6VCrLaKuWTg3ZzdtEvIPW8btLdOS1RmAHssIASfNWiCfU1WXe0FyseHu7dI3kHvFx5kJQn3Kpa3+3LqvskJQNdVeI/2FcIacufFcXbYG+FKzR+VOgqXxHvp6lTnSW2voFGK4naAzcPKulj95XeR+Eewn0qpu9uTGVhkISN2Yz/SAAPjVhY7J2iAS4XXT+BaR6ACfjVRjOz5WoG0tXUpAIOcjXkRKpohTUnqm/ER4iS+XTwKTEMWee+0cUQfuzCfdupgbDbH4c8hLtw466DvDcJSk8UqHtyPP0riVse06yCltVu7yKioTyOu48CPdQ1Z3Fzh7+6D95JnK4n+/nwNapUnBFOa7vI+m9l8Nw1mBaNMoP4QFz5nWieaSOC4m3ctJdb3HQg70kb0nrBFOHBj9Q1z7tHyFIiZRtqjuqVgGs1IhiKFu0jZcYhYuMj7QeNo6aLA094lP5qKqwqgBM7OvpxnCl27xh5ENrJ3pWPYcI6xr5Ko67NscVdWSA79uySy+DvC0aa+YgzxmgnadoYVjKLkeG1v5Q7wShwR4jwGpCvVR4GiC0T9DxIOjRm9AadHBLyAe6V+YZk+YHMVbL4436AV3ahg30d0Yi0PArK3dAcphD35dx6EcjQZYudy79HV7CgVsGOE+JvrlkR0NfQF3bIcQpC0hSVJKVA7iCIINIPHNnVMrXh61HM3Dtq6reUScp0+8g+FUdPKmoz5ENFaNnH2nXHLO7XbByCUozD0kKEiSY866Bh2IccWufQr/wDkrFhtOyUfXrS26klK0ngoGDEcJrD22Noncsq04JUasdOi3dkXZ1Lwx9Xt4heKHIuz86rv9IJQSu3fdbc4EwQehAArQ7t6wPZbcPnlGvvNcTvaEfu24H4nJ+SRUNUFyJu0V+N2F4h8OBo5xrnZSogkb1EAaHmONdh2hv3vC0zlMakIPvlWgrT/AK2unDlbbRmOgCUlRJ6CZrpbexl4jI08J0+yyifNQ099Z5U6LZYqk1szCNkLp85rl4DzJWR0iQB5VdWex1q1qtJX1cOnuECqxOyeNPe13iQdPE6APUJNb2uyi9Xq460k8SVKVA91Op047IXLJlxksmuDCY55DXle09oj/eT+ST8hWm27HFad5dpHPI0Vaeqh8qtLXshtRGd99ZnWAhAPSIJ+NN7z2QcNlfb7VWip+tA/EFD5iuO423tk7s69fupA+ZoxtezPDkHVpSyP31qPwECrS22NsERltWpBkEpk/GoeJkNwmKp7tATPgtyQOKlwemgSY99erHGEYgFW76EoURLahJ14793Dz1pm45sRZXKcpZS2oTlW2AkjzjQieBpN4Thy7bE0sORmbWoGNx8BgjoRB9ahVZSaTYsoWCPs3zNrubZYgpKFfMH09kimLY4q8z9msgct49xpd7PoV+1rkjcEajXiER8aN6pnpJlsNY6hph22STo8jL/EnUe7ePjRHaXqHBLagodD86VFXeyli4t5LiQQlB8SuH4etQmRKCtcYtSpUpioH9utnk39m7bKjMoS2TwWPZPv08iaA9jr79oWBYeJRcMHunP323EH6t0fxBSQfNJHCm0pNJrbRQwvGmrr2be9Tld4AKSUgrPlKVeWarKcrS1Aaez98p5hC1gJcjK4kbgtOigOkgkdIqq262QTiDSEhzuHmyS28E5igGAtMSJCh13gHhW/B0928qIyu6q/6iQBPqgQfwDnWvbza9nDrZTrhHeKCgyjitQHL90SCTyPWllHK7MD58wTYXvMSfsnFqyMFedaBBIBhOhmJkaa+u+mBadlVgnel5w6zmWfjlA+VDOEbFOOTc3OJdw66St1LakSZM+JQcAB4xBAq1OyeFqgv367jKDHeXKSBPKII9/CkLIrTYImdiMOagG2bETHeEk/1HWulFth7EQm1a4ie6B8xJmhq2tdn2xoq1VH7yird5mrCx2kwds/UqYSeGVuD1ghM1A90EbGKMHwtuoO4w2cw13E5JArtoaTtzaKHhL5A5W7+nT2a9ja9s7mLj+RH91VOWT2ROZBFWKHm9qgf/TPDzLX9l+teU7Tr1//ABwIMCXuHPRsx5TTKlPoRnXUIwalUCdojmMtDJwhWvr4YqK2jVwbH8xP9hTKhN8g4kQgisUNO7SKGsNpG7Xny1NV17e3Dn/qHGxybDaefNBPHnU+7z2/sV1UGlw8G0KcVohCSpR6DfSY2Wti++7iD4grWooHKZk+QEJHkasL7ZNLurz9y7ExnczRPKRWvaG97ttNpbpl1aciUD7id0nlpz6mnhT4fxSK5zzHvYBRdN1cne64AOgSDp/UB+Wi+qvZnCjbW6GScyhJJAO8kmBz3x6Uwtndl5hb45Q2fmr9Kzbu5cnlicGz2zin4WuUt8OavLp191HbDCUJCUJAA3AaVtSIrNMipybJUqVKBSUFdrWz30zDnUgS439a3xMpBkDzTI9aNawRQAqeynaP6VZozEF23KULB10A8Cz5gR5pNce1XZ6q9uFXL1wt0kQASEhAmQlIAOg6njQPjbr2BYq+lhKShwShJBylCjKQIP3VSAenpXUO0zFXiCzbIjdo0tQJ8ydPKavjUhb4kRqd6+zdpvVVutUccylT5gGvDezlqP8AYR6iT864v2/j7o0+r135W0kdNZPwrW9YYy+ZeuwJA+8P/amm4tP+JOWRfNYe0PZaRPRCf0rdokcEgeQAFCv+hrlYh2+VHL6xcH1UK3NdnDA9t51R6BKfnmqPeUtkTwpF47iTKRq82Pzp/sa5ntorVMy+jTeAZ91YZ2Fsgfs1K3b1q/WrBnZ20SZFu2D+H9aPen0GVFlK7thZj/cJ5wlX6VhvalC/smLh3fBQ1ofLWaKmbdCPYQhPHwpSPkK2lXM0jxMyeCuYLoxS5VBRYuEEffcQiPSCflW2L5Y8LLLZI0KnCqN28BIojqUrr1HzG4MQDv8AYe4e8b12lS+AyqygcgZ091aLXYu9SMouu7TwCVufIUw6lV5mTw0A6Oz7N9tduL4kBO/1Kj8qJdmtmG7fwMJUpa95MFRHLQCBV7hmHLfXkbE8zwTv1NMHBsGbt0wnVR9pR3noOQo1ZDyx2OPZ/ZxLMLchTnwT0HM9aIAKkVmpKm7kqVKlBBKlSpQBKlSpQBxX+GNPCHEAngeI8jvqoOxzJ3qc/mH6VipQSm1se29j2BvK1fmj5Ctn+krb91X86qlSgMz6m3/TFr/x/wBSv1r0jZu2H+0D5kn+9ZqVFguz1+wLb/hT8a2jB2P+Fv8AlT+lZqVIXZ6RhjI3NIH5U/pXo2Lf/Gj+VP6VKlBFzju9nrdze2AeadP/ABVFe7FkatOT0WP7j9KxUqLDKTRTu7O3KTHdE9RBFddjsm+pQzgNp4mQT6AcalSiw3EYb4fYoZQENiB8SeZ611VKlSVkqVKlAEqVKlAH/9k="/>
          <p:cNvSpPr>
            <a:spLocks noChangeAspect="1" noChangeArrowheads="1"/>
          </p:cNvSpPr>
          <p:nvPr/>
        </p:nvSpPr>
        <p:spPr bwMode="auto">
          <a:xfrm>
            <a:off x="0" y="0"/>
            <a:ext cx="2286000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5" name="AutoShape 20" descr="data:image/jpeg;base64,/9j/4AAQSkZJRgABAQAAAQABAAD/2wCEAAkGBxMTEhUTEhMWFRUXGBcYGBgYGBcdHhoeHxsXIB0YGyAfICghHx4lGxsdITEiJSotLi4uGSIzODMsNygtLisBCgoKDg0OGhAQGjImICUtLTAtKy0rLS8tLy8tLS0uLS0tLS0tLS4tLS0tLS0tLS0vLTUtLS0tLS0tLS0tLS0tLf/AABEIAKgAwAMBIgACEQEDEQH/xAAcAAACAgMBAQAAAAAAAAAAAAAGBwAFAQMEAgj/xABFEAABAwIDBQUEBwcDAwQDAAABAgMRAAQFEiEGMUFRYQcTInGBMpGhsRQjM0JygtEVUmKSosHwFkNTc7LhRMLT8SQ0Y//EABoBAAIDAQEAAAAAAAAAAAAAAAACAQMEBQb/xAAvEQACAQIEBAMIAwEAAAAAAAAAAQIDEQQSITETQVFhcZGhBRQiMkKB4fBSwdEj/9oADAMBAAIRAxEAPwB41KGsZ29w61K0vXSErROZAkqB00gazruodd7YLRZi1t7u6P8A/JowNeMwR7qAWoxprzNKq47R8RUfq7Blgc37gEnfwSARVJc7UYq4PFfNM7tGGcxG/cVQDw40rmkXRw9SW0R45qq8R2js2JD1yy2RMhS0yI6TNIS8s1PAC5urq4HFK3SEHSPYExvOuatTGC26RCWU+Zkn40rqxL44Cq99Br4j2u4W1OV5Tp4BtCjO7cdB8aorztmUTFthryxB8Tqw37gEqkR1FCaEAbkgeQA+Qr1SOt0RfH2b1l6Fo/2i4u57DdswPJSjv6nlVWMYxYnMrE1g8ktojyjTSpUpeLJmhYCjHdepdWW3WJtaFxi4AH321IJ3cUqOtEFl2pHdcWS08iy4hweZCggj0mgWvDjgTqogeZAo4siJYGj4DhstvLBzTvu7Mx9alSPioR8aIba6Q4nM2tK080kEe8aV82XG0Fsje4CekmsWV7cLVmtLN7Mdzh+qOvIjUjTWDVnEaV5aGGphqUdpn0yFVkGk7hCNo8sh1lPJDsq5ayRPSjTBsevkoSLyxV3kwVMLbUkiPbIUpKhJ0gA8NeUqrB7MySjYL6lVbeOtEEqDiI3lbawOHGIO/gaqsb2/srYStzPzyQR75j0Bp8yBRb2QU1KHtn9trG8gW9whSjuQTlV/KYNEANSKZqVKlAEqVKlACHxbCbvDXri6uLJu7adcU4t9BKlIBUTuWDlABjdHh31m32gtLwQ3dqaV/wAbpyjXhy9QTvp7EUre13s/tnbR66YZSi4bSXJQIzgRmBSNCYnWllBM0UcVOlsC1/hzjOq0nJvzpEpjmYmB1OnWuNCwRmSQQeI1B9aHuz5GIO979DuAnuggltwkpUFZhoIIER0q6xDGO7XGJ2C2FKIH0hglIV5xoriTqT0ql0mdCGPT30OmpWi2tlOibK6auhv7tz6t3ykaE+g8q5H8V7pWS5act1bhnEpPPKoCDw99Lw2aViIc9P3qWQFctziLSPacSPUH5VWX2Et3IlFwvnGbOnzyzND9zszcNmUgLH8P6GiMIvdlVavUhrGF11v/AIX7+1bA0RmcMwAkRPvrfbuYg99lZlA/eckevijSOhrr2a23tmklD7CbdxIGrbZ8XpEg9Dp1rsHaSFaW1o66easoA9wV8YqqbqJ2jT+7ZieJqS+q3ZI122w2Iv8At3KUdGkFXnr4R8avrLslt0nNcuFaubq9fcn5EmqV7arFHdIaZTroSpRHoDH/ANVxOM3Ln2146roiGxHLw6kUuWs95JeH4/0I0atTl5jMtMIwuzEnu09YSn47/jxqHtBsG5DUuEaHu05veRPxpXfs+3bOZSUA78yzJ/q1rTcbS26NAoq6JHy4fGoWH1ve/wC/dlnuqh88khjv9o7pH1NrH/UXl+CZJ9YqtuNsb1f+4lA5NoHzMz8KX9ttC8+rJa2qnFdJVHUgCAPMxRDY7GYm+AXnkWw5JAUr3DT+qrlhyVPDw2TZtv8AElK8b7pO8ytU+6THuoWW+m4cysMLu3B0JSnrA0Hw8zTIwvs5s2zmdC7lfFTyp+A098+dFjLSUJCUJCEjclIAHuFXxgoi1MRKaskkhFpabujCEm3uWTplgQQeY5KG/eDT57LdrF4hZ946jK60stORuUoJSc48wR6zSF2wSGMZXk8ILrajH8QSVe8kn1pn9gy8q8SZ1hDrawOHjDg0HA+EfDlTLR2MtWSnHNbVOz7jeqVKlOZyVKlSgDE0K7ZbY2Fs063cXDeYoWktg5lagiCBJG/jSn2mx96/xC6tlXzrFqyvKltsarA8KxMpJkydZEcDGt5g+x2HhspaAhQyqdIzrAPtRyJGmg039KVzSNFLDTqRzLY1dhOyyvojt0TlLqglEjQpROvqon+WmBd4asAhScySIOkgjkR/4q8wruUNoaYyhCEhKUp4AQN3+b67QancqUnHQUONdntjceIN9yvfnage8Hw/5vqme2exW2GVp1u+Zj7N4CYA0HiJ/wC7hwp33Foheqk+u6q24wTihU9D+tQ0PGaW2h87XqLJa8tww9hlxwUkFTfnlMGPIgda2/s+/bSXGHG71oby2cxHmPaHxp0YzhqinK4yl1B3oWdD5GCJ+fMUt8S2YsO8Hduu4bcGcsnKk/hMwfyr86hq5bGo4u69NPwCTe1DSjluGSkjQyAoD0IkfGup/axhI8OZXQCPnVjtdsxijjSUrDd2kEFLyAkOECd5MEp9+6h/ZDYVy9W6kupZLK8jiVJJWk6j2dOII3jUUvDiP73VjovO2pquNsVn2G0p6qM/ICuVi+vrpWRnvFnk0k6dSRu9abeCdmlixBWlT6+bm7huSNOHGd++iG6xC1tEBK3GmEjcmUp4fuj5xxplGK2QjqVZfNLQUuE9lV27q+tDA4z41eoBj40c4P2a2LEKWhT6ubm7+UafOtV32ksnw2bLt0rUCBkQOpUZPw9ao8axbFXm1qDjduACQhqcxEbs+8acuVDkluwpYec1eEWxhXuI2tmgJccaYSNydE+5I3+cVXWm0LtyJs7Y5JEPPy2gjmlIla/gKE+yuwsbhKnFJLl0kjOXiF79y0A8Op1B47qZ3+f50qRFdnHbWShBdcU6ryyI9EAn+oqrqdUACVEJAGpJ0AG8npQzjm31nbnKF9+5wQ1CteRO4UGY7jl9ftlrIm1ZVvTJUtQ00J005iBNQPFOWkVcG8dvE3uKKcanIpYgniEASryMaeYppdg9wF3OKKG4m2j0D4n4UtrzubJspRq6pJAPHzPIdKffZdsv9AsG21CHV/WO88xA8J/CIHpRF31FrR4ccj33fbsGFSpUpzMSpUqUAD20+xtnfAfSGgVj2XE+FafJQ19DSwxjYrEbBXeW5VeMj90Q8kdRMOact/IU8K8LFQ0nuPCpKm7xYkcG20bd0XqpO+AUrSeMp3g+VG2G7TOKAU2tLyBAUlUhQ/MNQeigZ5ppddtqF3GJNs27ELabCluJSAVFe4qUOACYE66mqQfSreFrHfQNXGjC08/MfOqX8LsmdCNWNaP/AEj9x8M7QWzsIcJZWYyhZykk8ELByqPQHjurseNw1qgB9PFJIQ55pPsqP8JCfxcKTmFbZd4ghaU3DZ0JGULHRaD4VD3eRokwLEjE2F1ASNWHAVoExvSSHG/QgCd1Op9SieE5wYd220tutzuVq7l4/wC08Miju9mdFjWJSSJFbsRwJh5JQ42kpO8EAg+h0oUuNqmFt91itqltBMFZAdYMyJzQCj8wG8CTXQ3glwhIdwm+BaIlLL0utHohebMgRIjxDduin0ZlalF2ZQ4r2YPMkuYVdKtyZlkkltXoZAOu+D6UD4K7fMY2hN20GnH0qSsAQlaQkkLEGDqka9N1NFPaGbdQbxS1csySEh0fWMqPRYGmmsEc6W23+ODEcYtm7ByC2kID6NfakrWN0hKSeOuu6gE2MXEMMS8IUt0Dk24tH/YQfjSa7QtnEWFy262jMy5rlUSrxJjMkk66gg+vSmQLa3sQHLy+dcXl0LrqgD+FtJiJ3TJ60G9om2Dd3bFtq3WpvMlQeX4QI3FCd5mSJMb92tQWvrzGAwLNkFoCARrpuB4SBAPlXDj1i23kLZPik666aRHvqlw8w22ViYSiQZB3CQZ13iiTHrxtTCHCmCoGJ4AaqPlWBvNfQ9bCDozg0209+mws2S5Y4iV2qW1qcbWQlRgJzEST0kTHI11Ymm4uJN7dEonVtHgb9efrQqMfWbh11CMy3DlQNTCeAAG8xHxq1Y2UuropVcLyzuREqHQDcK1SeVLM7Hnb0pTk4Rvq7LlY1u49bsDLbNhR3TuHqd6q58Jxhl54/T37ltqIAtggRzKpPsgcAFE9OJ1hXZqyj2wFHmoz8BAoqtcBZQnLEjloB7hpWSWPpR2Vx3QrTVm7Loin2H2c2fLyXm7xT7iSkpRcLSmFcFZcqZPnO6nQFUqL/ZGydHjtm/NIyn3pqo/0m5aSbHEHrYb+7UQpE8wDpw4g1ZT9oUpaO6M0sFUW2o8JqTSbstvcVY+1bt7tP8JLSvfBHrFFuzHaK1dOpt1sP27yholYBSoiZyrToYjiBWuM4y2ZmlTnHdBxUrCazTiGFUqbLbDE7pjv0Ls2GpyyEuuqBBIIKZgHdoTxFNZVKnHbJOGX+eIsb85XBHhafO5W/RKwd/6U0Em7MCq2evXF314t97vVdywcwbDYgFzQJClaDnPGrLDMSZvVOgJENKCM06zEmD7vjQZtyw5YXKbhEkQW18Mw3on1Bn8NcXZrcqQ04pJ8QcJOvNKBqORM+6ubj8Hac6nhY6OEr6Rp+IT47sQhZ7xslKx99HhUPPgoUJXjTzJl9ClhJ8L7UpcR1IHiHp7jTYsb0OiU6Eb08uvlXu6tEOe0NeY0NYKWNnTdp6o2OknqtBf4VtdcITPhvGuJBCXQOv3VeoE1Z4S5avrK8OuFWdyfaCBlzaGA40fCsSTu15HnpxvYiVFxlRQv95sCT+JO5X+bqEMVtCNLxoEDTv2wZH4hvHxrp0q8J6xZTOLStJfvZ7oab+2N6w2pu8sBeoUFALt9yj91LjRBKQeKhMcjS6wTZXEQ84+hKbMuTogJlAJByo1OXdG+a92e015ao7wOJvLcfvHxgcs2vvM1yYt2oXLghhtLI5k51e8gD4VoTk9jK4UIO8r+H5Lo7HpYSXnlIni48uSSBzPHoKFcavUXa2bdkyVupEwYk+EdfvTXBa4Td3qu9WVGf9xwnd/DzHQaVe7M4IhnE2kznDKC8okASQkxA4QSOdKsqer1LHUlOOSEbRbSGE9bhy5UlGiSojyA3mqXtTve5bUkcUpaQBwkSfhRBs3cQ7lyypX3piBqTw46UI7VnvsUaCjKUBbgHUGNfcDWWna1/H0O3jZzgnFco2X30ubMAwhLDaEJQO8IAUQNSeImjfC8ODYk+0ePAdBQeraZm3BPeozfzHyETVDifaIkmEoW51Uco9AJn1is06NaszncWnSVrjTfxBtG9YPlr8qr7raBKRKUwOa1AD/PWk4/tdduqCUQknQBCZJ6DeTWy22RxK6IUpl0z9545fXxax5CrKfs1fUyiWOX0oOcS28aTIL48mxP+e+hW+2+JP1bR/EtUn3D9ascP7IblWrz7bXQBSyPkPjV32RYBbMYndh51KlW2VDIcCU5iomVgEkSkJA4+0K1wwtKPIzTxVV9gdwrC8ZxGCy0tDaty/s0QeIUfEodUzTB2M7HF21w3d3F2pTqFBQS2OPJS1SVCJEADzptA17mtKilsZpTct2YQK9VKlSKYIqn2uwlq5s3mXhmQpCj1BAkEdQQDVLt5tqbB21ZShtRuS4kLcWpKWynuwkqCUqJBK44RG+hftJxJxu2Uq7ulnPKG2LdJaStRAgKVKlqAOvtJndBqVFsAf2Gx36fa9w4ZuGAMpnVxHLqYH+TVdi2CZiHrYhl5M6jQKB4Kiu7DcLbXhNriFhIeswpL6BqViczkwPaE5h0NWj1yl9KX24IWJVAiCePOFb/ADkVqptVI5ZEap3QMbP7V/Wd099S+nQzoFc/Xpu5UeWWNA6ODKeY3H9KEcawJq5T4xChuWN4/UdDQ+3e3FgQi4Hes6AODeOh/Q+lcnGezF80ToYfG2+GY5AZ6zuoffdbfvU27YzqSjM7+7qQEJ6kmZ5AceFVhuJZ0AsuShWmh/yCK2diqw+9dXBEKU5pPBKU+EefiM+lcynhsuaT5bGnEVrRSi9zuxvsuaWhxxCxarIM92MyVTwUnQQenxoOsNjWbdRDh75aTEkeGeif1pmX+Ll6/eYCvBbNtyAfaW7JzHllSgAb/bmsKtm0KW4RJ1Mnh0FPPETpvJf98SvD0YyjnaBNQjfpu0j+1UWyS2rjELlxvUJtzlO6TKZNeMexsqt7l0HestpPOYCiOkz6Jrqw3ZdWE3Vm6twKS8VW750ypUoHKEydxjef3TzArdh6Ts29wq1stSNtk0wissTSwlbpgECATuHEqPlpQFtfZ/Sctw04lSEjK5GsCZKjHAcRHDjV3tLZOvLbsm9FurIUo/dQiMxPvGlF9psBZN5e7bWlQgZ0rWFKjiYPHiN1TRg7KR0PaOKhxJUrXTtd317W8P7BTDuyBBhT10VJI3NIA37iFKJ0j+HjRRh3Z5h7UHuO8PNxRV8N3wq7aeYYCWA4mUiAicy4G7wiVfCu1CpEwR51quzhqC5Gqzs22gA02hsfwpCflXHe48w2ooz53Bp3bYLi+G9KQSN43xE13XJTklyAjiVRHWZ099DdxttZtDJb5nyNMluiQPXRIFRcl9jXc4xiTulrZBkQCHLlaZO/7iZjduJNBV/g17YvrurkJfad+2cbEhMkbwQOnDhRDdbR4i9o221ap/iJdX/ZNC2KG2zZ727XdOCSApRIExOVKdBMDTpSSqR238B1SkrS28QswjGXUJzWlypKTuHtt+WRR037kxRBadpr7X/7dp3iBvdtiSfMtK15kwo+VKFzbBtsZLW3Sgc1RJ9E/wBzxqys9lcaxCPqlttniv6pPuPiIMcqSlGqn277hVlRku/Y+itm8eZvWA/bqKmySJIIMjQgg61aUH9l+ybuG2imHXQ6pThc8OaEylIyieoJ4b6MK0mMCe1fZX6fYLSkS81LjUbyQDKfzJ0jnHSgzCHE41g5aVHfJGQk8HEiUL/MCPeqnRSWxVv9k42Feza4hv5JcnU+ilAzwDpp6bs7dQZ09ld9M3O7vSLe/aP3Hk6Nv5SBo4CQv+LnrFZjeEfs68VazFvcZnbc/uEEFbPKEmFD/wA1bOufsvF0XB0tb8909vhDo9lZ85+K9dDR7trs4L61UzOVwQtlfFtwTlUPkehNCbhMBVWz5UmSIWNFDfB5A8uIPIihy72wbC1Mqt3CqcpT4TPTrOkc670XagC6tBQ42e6uUaSMsyeuWSoR91R36VXbbYL3qPpDUZ0CTH3k75EcRw6E8q1ylJq8RbLmcVpht0HO+sbZ9sb1IdCQk8RAJkz5etdXZxtD+ynl/SmXG0ulAkpIAy59IOp0XvB4DzpkdlmLIvmSpYSpaEhKwdYM+1+bf76LMYwBt5soyI/CQCFdCK4FTETk5KcfI0W0VmK7YjFUv4libgUFBxwFBG5SEqcCSPyZaJdrXctq4eh38dDpQJjmDHC7xD7aFoYUFByAT3Z8+RkR60QjGBcslOZK0HQlO+OR9KzV6earGrHbT0N+GmuG4c1cW+MNqTh1skDwkqUo8iQSkesn3UW7c9olpcsO27TS3M+5aoQEneFAGVEggaQOOtVey/dvNKs7kZiyuCkGCUg/dPQgieRFMPDV2NqmbdgJMDckZvMqOvuNdKNSMW1J9/MzSpzkk47beQJ4FaYg+q3WQbd5KXE9662o5kEAFWUgeLwjRW/Q7jRgjZgZc15dPXOnizr7tr1QkhMfiJrmu9o3CCRlaTxMgn1UYAPpQbi21dtMuLNwobvvR5T4R6VCrLaKuWTg3ZzdtEvIPW8btLdOS1RmAHssIASfNWiCfU1WXe0FyseHu7dI3kHvFx5kJQn3Kpa3+3LqvskJQNdVeI/2FcIacufFcXbYG+FKzR+VOgqXxHvp6lTnSW2voFGK4naAzcPKulj95XeR+Eewn0qpu9uTGVhkISN2Yz/SAAPjVhY7J2iAS4XXT+BaR6ACfjVRjOz5WoG0tXUpAIOcjXkRKpohTUnqm/ER4iS+XTwKTEMWee+0cUQfuzCfdupgbDbH4c8hLtw466DvDcJSk8UqHtyPP0riVse06yCltVu7yKioTyOu48CPdQ1Z3Fzh7+6D95JnK4n+/nwNapUnBFOa7vI+m9l8Nw1mBaNMoP4QFz5nWieaSOC4m3ctJdb3HQg70kb0nrBFOHBj9Q1z7tHyFIiZRtqjuqVgGs1IhiKFu0jZcYhYuMj7QeNo6aLA094lP5qKqwqgBM7OvpxnCl27xh5ENrJ3pWPYcI6xr5Ko67NscVdWSA79uySy+DvC0aa+YgzxmgnadoYVjKLkeG1v5Q7wShwR4jwGpCvVR4GiC0T9DxIOjRm9AadHBLyAe6V+YZk+YHMVbL4436AV3ahg30d0Yi0PArK3dAcphD35dx6EcjQZYudy79HV7CgVsGOE+JvrlkR0NfQF3bIcQpC0hSVJKVA7iCIINIPHNnVMrXh61HM3Dtq6reUScp0+8g+FUdPKmoz5ENFaNnH2nXHLO7XbByCUozD0kKEiSY866Bh2IccWufQr/wDkrFhtOyUfXrS26klK0ngoGDEcJrD22Noncsq04JUasdOi3dkXZ1Lwx9Xt4heKHIuz86rv9IJQSu3fdbc4EwQehAArQ7t6wPZbcPnlGvvNcTvaEfu24H4nJ+SRUNUFyJu0V+N2F4h8OBo5xrnZSogkb1EAaHmONdh2hv3vC0zlMakIPvlWgrT/AK2unDlbbRmOgCUlRJ6CZrpbexl4jI08J0+yyifNQ099Z5U6LZYqk1szCNkLp85rl4DzJWR0iQB5VdWex1q1qtJX1cOnuECqxOyeNPe13iQdPE6APUJNb2uyi9Xq460k8SVKVA91Op047IXLJlxksmuDCY55DXle09oj/eT+ST8hWm27HFad5dpHPI0Vaeqh8qtLXshtRGd99ZnWAhAPSIJ+NN7z2QcNlfb7VWip+tA/EFD5iuO423tk7s69fupA+ZoxtezPDkHVpSyP31qPwECrS22NsERltWpBkEpk/GoeJkNwmKp7tATPgtyQOKlwemgSY99erHGEYgFW76EoURLahJ14793Dz1pm45sRZXKcpZS2oTlW2AkjzjQieBpN4Thy7bE0sORmbWoGNx8BgjoRB9ahVZSaTYsoWCPs3zNrubZYgpKFfMH09kimLY4q8z9msgct49xpd7PoV+1rkjcEajXiER8aN6pnpJlsNY6hph22STo8jL/EnUe7ePjRHaXqHBLagodD86VFXeyli4t5LiQQlB8SuH4etQmRKCtcYtSpUpioH9utnk39m7bKjMoS2TwWPZPv08iaA9jr79oWBYeJRcMHunP323EH6t0fxBSQfNJHCm0pNJrbRQwvGmrr2be9Tld4AKSUgrPlKVeWarKcrS1Aaez98p5hC1gJcjK4kbgtOigOkgkdIqq262QTiDSEhzuHmyS28E5igGAtMSJCh13gHhW/B0928qIyu6q/6iQBPqgQfwDnWvbza9nDrZTrhHeKCgyjitQHL90SCTyPWllHK7MD58wTYXvMSfsnFqyMFedaBBIBhOhmJkaa+u+mBadlVgnel5w6zmWfjlA+VDOEbFOOTc3OJdw66St1LakSZM+JQcAB4xBAq1OyeFqgv367jKDHeXKSBPKII9/CkLIrTYImdiMOagG2bETHeEk/1HWulFth7EQm1a4ie6B8xJmhq2tdn2xoq1VH7yird5mrCx2kwds/UqYSeGVuD1ghM1A90EbGKMHwtuoO4w2cw13E5JArtoaTtzaKHhL5A5W7+nT2a9ja9s7mLj+RH91VOWT2ROZBFWKHm9qgf/TPDzLX9l+teU7Tr1//ABwIMCXuHPRsx5TTKlPoRnXUIwalUCdojmMtDJwhWvr4YqK2jVwbH8xP9hTKhN8g4kQgisUNO7SKGsNpG7Xny1NV17e3Dn/qHGxybDaefNBPHnU+7z2/sV1UGlw8G0KcVohCSpR6DfSY2Wti++7iD4grWooHKZk+QEJHkasL7ZNLurz9y7ExnczRPKRWvaG97ttNpbpl1aciUD7id0nlpz6mnhT4fxSK5zzHvYBRdN1cne64AOgSDp/UB+Wi+qvZnCjbW6GScyhJJAO8kmBz3x6Uwtndl5hb45Q2fmr9Kzbu5cnlicGz2zin4WuUt8OavLp191HbDCUJCUJAA3AaVtSIrNMipybJUqVKBSUFdrWz30zDnUgS439a3xMpBkDzTI9aNawRQAqeynaP6VZozEF23KULB10A8Cz5gR5pNce1XZ6q9uFXL1wt0kQASEhAmQlIAOg6njQPjbr2BYq+lhKShwShJBylCjKQIP3VSAenpXUO0zFXiCzbIjdo0tQJ8ydPKavjUhb4kRqd6+zdpvVVutUccylT5gGvDezlqP8AYR6iT864v2/j7o0+r135W0kdNZPwrW9YYy+ZeuwJA+8P/amm4tP+JOWRfNYe0PZaRPRCf0rdokcEgeQAFCv+hrlYh2+VHL6xcH1UK3NdnDA9t51R6BKfnmqPeUtkTwpF47iTKRq82Pzp/sa5ntorVMy+jTeAZ91YZ2Fsgfs1K3b1q/WrBnZ20SZFu2D+H9aPen0GVFlK7thZj/cJ5wlX6VhvalC/smLh3fBQ1ofLWaKmbdCPYQhPHwpSPkK2lXM0jxMyeCuYLoxS5VBRYuEEffcQiPSCflW2L5Y8LLLZI0KnCqN28BIojqUrr1HzG4MQDv8AYe4e8b12lS+AyqygcgZ091aLXYu9SMouu7TwCVufIUw6lV5mTw0A6Oz7N9tduL4kBO/1Kj8qJdmtmG7fwMJUpa95MFRHLQCBV7hmHLfXkbE8zwTv1NMHBsGbt0wnVR9pR3noOQo1ZDyx2OPZ/ZxLMLchTnwT0HM9aIAKkVmpKm7kqVKlBBKlSpQBKlSpQBxX+GNPCHEAngeI8jvqoOxzJ3qc/mH6VipQSm1se29j2BvK1fmj5Ctn+krb91X86qlSgMz6m3/TFr/x/wBSv1r0jZu2H+0D5kn+9ZqVFguz1+wLb/hT8a2jB2P+Fv8AlT+lZqVIXZ6RhjI3NIH5U/pXo2Lf/Gj+VP6VKlBFzju9nrdze2AeadP/ABVFe7FkatOT0WP7j9KxUqLDKTRTu7O3KTHdE9RBFddjsm+pQzgNp4mQT6AcalSiw3EYb4fYoZQENiB8SeZ611VKlSVkqVKlAEqVKlAH/9k="/>
          <p:cNvSpPr>
            <a:spLocks noChangeAspect="1" noChangeArrowheads="1"/>
          </p:cNvSpPr>
          <p:nvPr/>
        </p:nvSpPr>
        <p:spPr bwMode="auto">
          <a:xfrm>
            <a:off x="152400" y="152400"/>
            <a:ext cx="2286000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19" name="Picture 28" descr="https://encrypted-tbn2.gstatic.com/images?q=tbn:ANd9GcQW3XUARnDzpABic7B-NNUe99HCqz7FLBceC_J7lLTnnPlBG8_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954" y="457200"/>
            <a:ext cx="1527573" cy="113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utoShape 2" descr="data:image/jpeg;base64,/9j/4AAQSkZJRgABAQAAAQABAAD/2wCEAAkGBxITEhUSEhMVFRUXFRgXFxUXGBcVFxcVFRUaFxUVFRcYHSggGBslGxcVITEhJSkrLi4uGB8zODMtNygtLisBCgoKDg0OGxAQGy0mICUtLi0tLS0vLS0tLS0tLy0tLS0tKy0tLS0tLSstLS0tLS0tLS0tLS03LS0tLS0tLS0tLf/AABEIAOwA1gMBIgACEQEDEQH/xAAcAAABBAMBAAAAAAAAAAAAAAAGAAEFBwIDBAj/xABQEAACAAQDAgkEDgYJBAMBAAABAgADBBEFEiEGMQcTIkFRYXGBkVKhsdIUFiQlMjQ1QlVyc5Ky0RUXI4LBwkNTYoOis9Pw8TNUw+FFY6MI/8QAGQEAAwEBAQAAAAAAAAAAAAAAAAIDAQQF/8QAMhEAAgECAggEBQUBAQAAAAAAAAECAxEhMQQSE0FRcZGxMjPR4RQiUmHwQnKBocFiBf/aAAwDAQACEQMRAD8AtGdiHGu9PJmqJqqSxIJyDQcxHK1iLOCVf0gfOP5o5sBkZcQrje91PN1gwK7EbE09bTmbNaYpV8gCFALBVPzlOvKMJCKlG8jrqzdCSjC2KTxS4Bj+gqr6QPi3rwv0HU/SLeLevHB+qei/rJ/jL/04b9VFF/WT/GX/AKcNs4cRPjK3BdF6EgcEqPpFvvN68N+haj6Rb7x9eOH9VNF/WT/GX6kN+qmi8uf4y/Ug2cOIfF1vt0XoETUd0CmoNwAC6zXBJG8nlEaxitARuq275mbzHSIH9VlF/WT/ABl+pDngwox8+f4p6kNqw4k1WqE8aZra1RJ6eMt5gdY6qerKixmSz1lr/wAYFjwZUflzvvJ6kMODGj8ud4p6kGrHiJKpN5pBl7M6HleP/uOetmTHWyT5Us+V8I91zaBdODKj8ud4p6kZ/qwovLneKepG2jxMjKSd7InKSXOTfVS3+tr/ADX88bSZ5N/ZMkdQGneCxgeXgwovLneKepD/AKsaLy53inqQurDiUdWbd2l0XoELPO/7iT4D8453p5p31SfeI9DRDHgxovKnfeT1Ib9WFF5U77yepGOEHvDayW5f0SoonGoqZQ7z60P7Hnf92ni3rxEfqvovKnfeT1If9WNF5U77yepBs4cTdtPgv6O9sPmXv7Jk+f14x/Rkz/uZHgfXjhPBlR+XO+8nqRieDCi8qd95PUjNlT4m7epwR2nC5v8A3UjwPrxrnYPPPwa2Uv1R+bGOU8FtF5U77yepGJ4LKLy533k9SDZU+Jq0mqty6I3nBKnmxEDsJHoaMTglV9Jf4m9aOc8FND5c/wC8nqRieCih8uf96X6kGyhxG+LrcF0XodX6FqvpL/E3rwwwSqO7ESeoMx/mjkPBPQ+XP+9L9SIar2Wk0OI0KyS5DzATnykjK6gWso6YFSg94PTaq3LovQLMAxGbKnzaWe7TcozB7m+5dOUd3K9MNHPr+k5/2Y9EuGiUWXrU4tp2zS7Hdg3x2t+qfTHLwRfE3+2P+WkdWC/HK7sPpjk4IfiT/bH/AC0itPwPmc+l+auS7IOYaFChiAoaFaEIwB4a0PCjTTECHhCIvGqllAA0B5+iMBK51NVjNlUXMbApO8nxt6IisLmdGvX/ABPmiajFiM8Bgg6L9uvphZB0DwjIQjAKYQlbWxh2jTJBLdgv6bQGnRCtGVoVoYUxhoeFaMNMYUZQowDGGtGcNGgYEQCbZ/KWG/XP41g+IgD20Hvlhv1z+NIaGYs8jO/vnP8Ash6JcKER75z/ALIeiXDRzRPSq/p5Lsd+C/HK7s/iY4+B/wCJP9sf8tI6sE+OV3YfSY5eB74k32x/y0i9PwPmcul+auS7IOoaHho0gKFChQAKFCEKA0UcmJ0vGIRz20jrhQAB2ETTmIPMd3XfXzwU0z6RXGK48kiqmywCWzbgMo1/tHv3XjOq2inWGV8o6rDz74WEGzZTRZQMaplXLU2Z1B6CwHpMA2y2HtVrOaa7HTKjZiSr78w15tNIGqnA6hGKtJdmBNyEZhpuOYCxBHPFNTdcm5fYtqZVIwOV1Y9RB9EbqXdfp9AH/sxSEl550pwxe9rououenmi3Nj3dqVDMLF7tmDaspDEZSee0Y42NUromoUKFGANDEw5hiIw0UKFDwAYwjDwjGMDEwB7aH3yw365/GkHhgD20+U8N+ufxrDwzFnkbSPfOf9kP/HCh1HvpP+yHolwo54np1f08l2OnBR7sruz+Jjm4Hx7ib7ZvwJHRgx92V/Z/Exz8D3xFvtm/AkWpeB8zl0zzVyXZByYxh4UaQGvDwoUAChQoQMAChRG4riySfhG2l7xFja6UNSDbpFz58ohHUSHUGwT2vwJZlQ0/jChXklcubPqSoXUWOpHP5o5MHITKzy5c23zX13Hm1t32juxSW9aJwR5YYTBNk5W5TAA8llY3U67xpfoEckigqvgmnmBrdC211Nzm0h6csMxZxs8iy8Gq0mSw6LlGvJ00IOoFtCI4trqh0k3AOQmzkc1/gg/2Sd8DMwVTS0ky5bLKROXqFZ5rXZh8IclSe+3OLRhSz6iWpSpn06SWBVpc2YGbKdDlA3G3QbXguljcLPgCy1/EM02UCGBJFt1+zo6otLA8ZksssFlSZNlCfxdxcA2zHx9EVj7Lw+ULPUTKk3PJly8qMOYEnUHrBjqpdpQWzSaRZbEAByOMmEKAoF7C9lA5uaEnWjuGhRmWlWYsktC7XCgaX0LfVXf42jrpp4dQw3Hp0I6j1xWUiqmTizFWYo1phfQpaxNhutqNIPsIxBG/ZrzDTpPTfrveFhUuwlCxKQ0PDRUmMIeFCvAaMYRhXhiYxgIwA7Z/KmG/XP41g+gC2y+VMN+sfxCGhmLPLobQPfOf9mPRLhQ8v5Un/Zj0S4Uc8T1Kv6eS7G7BR7rxDs/ONPBB8Rb7ZvwpG7BT7qxDsPpaNPBAPcJ+2b8KRan4HzOTTPNXJdkHENChQERXhQxhQAKHAhoeACF2lwozkuvwl3Dp6oAMSlALcjIRoQd5PRY3JPUBFsTDoYBcXoUeas1nLMt+TYZSe09Bt4CI1IrMtTkyuqqQxfKrZTfQWJN7X3A6c++JDCcNxGoUtKqWUXK3LPvU2bc3SI6MZkKk9AgXnGlgOMcjUnnO/wAOuNeFzquW7SlAVDMYZpjGWmYAG1xv3jTddiemJYF1rONzN+D3EHP7SqDDtc+kxvwrg0/aETmNwA1hYXBuAb77aHnjt4rEqSXxst1YEFnl/DAN/msSc1xbUR1Y6tZMpKepSayPNYLNC2AVZh5Jt0Kea+4mMaBJ4HWmBUNMBmtu1YG+g6TApMw+VPdnlT3USyCACDdbghh1c24EG4ghpdj6fKSSWmZCrK7NlLG440rbNfU2AIG7oEbKTAJdHJYC5zkABt/R5yWMZbgNDemSXtclvbKxl7rgWIYb9d1mvzxP4Lgok2JbMwv0b2Nzzbv93iOmUc5llKAMoHKe4BG7Xr57RO0M0sWb5oIVevLe7d5Pmi8Fjkck2dkKFCi5EaFDw0AGJhoyIhoxmjGALbD5Vw3tb8Qg9gC2u+VsN7W/FDQzFnl0N0r5Un/Z/wClCjKnlk4nUGxIEsbhe1xLt6D4Q8c0T06rXy/tXYywX41iHf6WjXwQ/ET9s34UjZgnxrEO/wBLRq4Iz7iP2zfhWL0/A+ZzaZ5y5Lsg3JhQxhQEBGEIaHgAeFeGhEwANMFxaBPGaRFWax0FlAGt7k/NbW2+27mgrzdEBe3s0KZbM11zfAuN4U20Pf5oWSGi7AhtLTyuI4+WSHluM636GAU26CNb9sFWHYhKnS1NwtjdWGjA2sb9N+vo6op7a3agPMmJJBVTkVtQQSt84FuY2XzwUbDyDORJomGwfKUvzqM1j0jURGS1TopVIydkWxoyEam459/fGuilgUpS2iXtz6BjY+AB7410qcZJKglCy/CHwgSL316LwLU8qvQPTqTOSYQvGXylFzWJ5/m/7MLrWGsuIaF0KLMG617jW/ZAxtFiJnBBL3cYgz20Bd1Ve/U+EEiYakqUslBYa2t077d8cTYcpWTJ05U0TZnTaWbgDvCjvMbi8A1kldFJVG2VRT4hOnS2uM7KUe7IyKxUKy31FgNeYi8X7sXtHLr6VKiWMt7q8u98jrvXs3EdREUVwzYVSU9blpi2dlzTZdrohbdla97neV5rjXWwz4IdsloJ0yXOzGTOC3I14tlvZ8vPobG2ug32tHQszgvZ4no8QjEbT49TPYpPlEHcQwsb9cSKtcXhjTKGhs0PeA2wjDGFDGMYDGATa4e+2G/v+mDswB7WfK2HfvemGhmLPImcMq5a1lUhB4wlWvYWyqiAC9992h4j6H5UqPsx/wCOFEYt2O6tBXXJdhsB+NYh+9+Jo1cEXxE/bN+FY24EPdOId/paNHBB8RP2zfhSHp+B8yemecuS7IOYaHhRpEaHhoeAwaArHOEemp6o0xVmVNJk1dcky1wgX51tLm4tqOaDOa1gSBew3dMeY5VTnnzi2rNUTWa++5mMde8xqV2LKVkSm1nCDW1LNaYZMm9llyzlNr6GYw5RJ8IB6+axILE3PSxY9946KmWJU51mXIbUEdB1Fx1XsRzGObEFAy2N94v1X0/jBuI43xON4trCJPErJmU8xWRklmcgIOWYqBTMFjoLb+yKoYRYvBZgAmgznJWWGKlgbEtbRE5ibBr3vpEamR1aOvmLilzROloyOFNtRYEsB0G+l7dB7ogmr5sqYVZ5++4CiXkYX0GbKSpPVG2ZhxUMKeZa4B4ubYgm4+Cy2K68xHPzRJbOqJhJcAMuVspuLEjW4OvZfdEsW7I6lLUWKNuHpmKTpxIcE2AZ8o38k30ftIiI2oxR6W9SvKYqJMiXztMuWaYf7CixPWAOeCXamfxchpqqHKC9umw3dkU7WV0+sf2SzBjayoOSJQ8hR36km5tGTeoUoU3XkRu2lEtWkmdJDvUKhWozAKJhzEh1uQbi5BuBpbogDlzCjA7ip17t4izpzTBKmF9CFYi51Atz267xWM6WwJDCx3nv1itCUpZk/wD0dHp0nFxzZY2x9KzKzZhZraA6dvbr5oljWzpLcmY626CYC9g6+Yk4SweQ97jo0+EOiC3E2BYgtqBe3SI68zzFlgFlPt7NWQxZFeYLZWGgPW6857P+ZjYfbI1TmTNUCYBdSNAQN4IO488V1h8osVQfOYLu6SNY1U9QaeqVlJUm9ju1I6u/xg1UbrPAv0xiY1UNUs2WkxTcMoPm1jcYkyxjALtaPffDv3vTB0YBdqz774d+96TDQzFnkdND8qVH2f8ApwofD/lSp+z/ANKGjngehXzj+1dhsC+M4h3+lo08EHxE/bN+FI3YEPdOId/peNPBB8RP2zfhWLU/A+ZDTPOXJdkHEICEYQgID2hQ0KADmr6pZaM7nKoFyegdMeT8Snn2RNeW5vxjkMd7gubPrvJFjr0x6f2xoGn0c+UnwmlsF5uVbQX5r7o8yUiifLK/PGoX5x6SnX0rzxqJzN71supQq65ZoHJPMT/AwPXNreaOlkKnXuYbu+MFTXfz3jGxEaxF34PgyysIEgkrOQmY+XQiY/K1HPZWC36jFcbJYCZ09CdVDK2XpswO/dbee6Lzp62mms6sn7Q2bQEllYCx0363HaDEqmR16NHNkDsxjIqWMkOqm05jMvuEx7ypYBsSVBHcsEeKYdVkfsp8s6scrXXNrdeUoNtLixEQErBqBJxDowzakag773sNbXvuiQraGVLVnkVhUZTyXYOALWNtQfOYidmbRuoqk1ciclmUCXkPKAPG2JIA5tw/2YrQ00+nyzJsl1Rr2YC6mxtqeZuo23RaGylA6yC00g3zBbBlugHwuVrrZjBPQylylea5/wDRHp74fZayRi0l0ZPVKRNM9YhSn5bWvpusDcgk6AdsDNZgodQ78lixtoNLaWPSNI9CzcPlyxOMpERnDFmVQCzZSAzW3mKNnUrz5STJWuVRmB00OoMXoQ1VY5dNr7eSlbcc2B4RPktcS1N90wugXKefeSOm1r6RIzHkrNVnczDcAi2VLX1GhuR3iNMrBZ2QOXOTNY26egRy1OF5J8tBfeSSTzAgb/3o6DhC7ZjEQrM5UDR1tb4J+aRfdqAOyILaA3qpKrvzAW598ddLNGbk/BZnI7My2PgDHFhR42vz/Nlcs9oPJHjGGt4WDLg0xh0rZlGzXR1ZlB5nTXTtXN4CLUMUHsxWIuKrUM1pchZs2YQCbIkps1gNTv3CL5lTAyhlN1YAgjnBFwR3ROaxKQd0OYA9qvljDuxv5oPWgC2pHvxh/Y380EMxpZHbho99Kn7MeiVDRnhQ99Kn7MeiXCjmid9fOP7V2NOBN7oxH970vGvgiPuE/bN+FYzwQe6MR7/S8a+CEe4T9s34Vi9LwPn6kdL85cl2QbwoUIwEB7wxMKGJgAG9vdqpWH0/GzAWZjlloNCzWvqTuAG8xReD0dPNmvPcBCWzLKlnki+ptz90XJwsYCtXQsCbPKPGI3QVHKHYRceEed6VRuJOhGu6NSuSm2gpxKhkliclid5BO/dr094iAo8HebUrTyAWZjZVO/pN+gCx16ImqNZrsFvfTVjuVek9W6LU4N6UGW02WtkJyqxHKKgAsxa3ObbuiNkkjIfMZ4Ls3Lo0EpTmfiw0yZ5TMWGnQotp29cROyWJOk9icrf0eptqGJKX5rnUdvbBdigKz3vYBpKMvajOrjwMvxiv6+jmrNJl65zlIsLG+ouD6Y555no0UrBjiu0NMxCT5WoJsJiHMLc45/CIirSnnlJcpCOMYAZ2ITXyVmHl6X0F4G9oMfny0loCRmUETWtmZb2AU82o7d0cWxrtOxKnM0l+VmuxLE5dRqeuGjSbxYj0lRerEuxlZWsvwStvqstrW7QT4GJGhllVAJuey3miHxinqOMUylzKd5BAtrzgnr5uiJaTmU2bXoPSP4GNje5GQqxLXPTf0RQWyR0POMjD7psD5hF743UBJE2Z5Etm8FJihNkgbogNrgg9YuTFoLMjN2aOtpjjQMQvOLc/ad3hGOMS3KcfmJBW3Na9wLnTQ6+eHqBbNHPTuzgSt/KzdwuSPG3hFbEr7iOrK3iyi84Q27wFjYJ3saQR/STNW6R0COOpa9cBa4W2nSbG2nbaJ7Y2kSZNm19YQtNTHQsNGnk2RQLcorqbdOWM3Cq97GjEJLUFA7zLrPqVyBDvWWy3YHoOU69oEXzs3TtLpKaW3wlkS1PaEAN4qzZmg/SlVNxKrQ8RI1kSTuZhduV02sNOcm24RaeATS0kEkk5muT2xJnRBEgYAtqD784f2N/NB4YAtpz780H1T/PBA2WRI4X8pVP1B6JcPE3Lo5aO80Ly3+E3PuAt1DkiFEYxsdNSqpNW4JdAbwP4xiH73peNXBF8SP2zfhWM8D+MYj+96XhuCUe4f71/QsPS8D5+oaZ5y5Lsg1MKFCtGkR4wJjKMWjTCq+GvH2SR7HQ2zOFNueyh/DUeEVRJkoyINwVdRpdm5yT2xZfDThRmTZJUi72AB8tdCfBx4RD4RstKkhTNbjHsc4B/Zqb6ZToSctt+4kxsGSqRbeBHvI4qiecbBm5KKNLfNv12Gbvi4+D6Uow6UB5J3dRIv5oo7bbFlf8AYS/gKQNN2g3DqEWlwR4yGo1B+azIeofCXusw8IJm07XsgrxKSHlXI1UE/umwf+BgZxehDEFLZmsiNocuYAM/cufxgprby8zIb2Qso5ybWCjrJI80DMyqGHUqicFmziBlS5AUEfBDdt93MOq8RkrnVF2Vgc4V6EexQ6AASnRjp81xxRUd4lG3VA7wbLfEZH1T6LxH7Z7VTqo5DZJQIJRL5Sb8nMTqxHhHZwd1Sy8Qpy24hkv1sunntF4pqGJySadTA9DyX/31iGzWOVtx3H+BjWOe3QD4/wDEbcpIObu6tP8AmJlQb26BFFWC+nsdyOrkkERReBzioRgbEX9Ji+dql4ylnSr6tImdwyE/wjz/AITYyx2mK0iFVYoKZxQ05a/KLW7rRp2XUO83+wif/ozfwSIqaxy5euJ3YhAtNUTz8+dlXslIAPOzRR4IRYsCaNicQYE6tOy9+bKIs6fsc895SzZhMlSSkpBYcYxIJY87WsL9HRFd7d0Ak1qlDZnRJh6VcEgnq1UHtvHobApPGU0qYdHZVdiPKsNfNE3IpGOJy10qXSUqyVstxqBuyrqe7QCJjAZJSnlhtCRmI6C5zW88cVXgHGzxMmOSgseL6SNwJ5l6ueJ0wrZVGJgA2n+WaD6p/ng/gC2n+WaD6p/njYmTy/lE/RYo0yrnSCAFlrcEXuScp1+9CjiwhffKq+oPQkPHNFs7K0YxatwXY48E+MYj+96XhuCT4h/ev6Fh8EPujEf3vS8Y8Ep9wf3r+hYpT8t8xdL85cl2QbQjDXhXhiA8YzTpGUaqg6G2+NMKi4XqnJMlte15a5eolje3dbwgDXGnJZSTylI794iw+GijEyk40aGW47QDvHmipnJKrMAvuuB1j87xsSdS5oqByrndz9+kT+w21jUM27AvKOjqDa++xF9Lgk+eBqpzE3IsN4ENNHzh+8Og/kYGSTtkehcF2iWsu0m+RALXtnVz809QsfHrgQ4QaxRmYzS7ywcwHwJZYCy353J1MVnhGMVFO+eQ5Vh2FSN+VwdCOoxhjePz6o/tWFgSQiKstFJ35UXQdu+JtHSquBtw2ZnVlPk+cbo6aeay5WUkMhBB6CD/AMRC4fUZG6jExn1MXi7o5pYM9BbPYjMenl1aG8uYg4yXvysOSxXogtMwZM3Na8AXBBUH9GgWBAnTV17jbzwUVc29pYOh39g3xHJnSndIj8QUvJqG3EyXHWMwsoPdr+9FF7NpyZgPzCfRb+EehkpS8llvlMy4utgQtiABcdAigKenanqJ0lhZmBv32Yf4TFKZKrmjXWzgqs3QL/l54ONkqECTTU9tQONcDW7f9QjvOkA1ZJzPKl+U2Zvqy+Ub9wMWvwcSHNRNZ1IySgLEWsZjAjzI0UmTp5kLiewoq582fPzgKmRMv9YLsL9NiWvzbosbZ7kypadCAeAiXZQRYxqpqVUFl/31RFs6ErG2FeFaGMYaKAPab5ZoPqn+eDuAPaX5Zofqn+eGj6izyJPBT75VY/sL6Eh4WCj3yq/qr6EhRGGXU69I8S5LsceDfGMR7/5418EZ9wf3r+hYzwf4xiPf6XjXwR/EP71/QsNT8D5maX5y5Lsg2hXhQo05xwYwnHSM4ZxeGAD9r8INTTzJQNswOh3E20v0R56n0lRJ/ZlTppa3Tvj1LOl30gaxSgGtx5gYEZOOsedTMbcwsR0i0ap80c0Wvi2wi1Uy63lkDeACCOa4iExDg4eTKmOWDAAHNpe2YCyqIGyWo0V/nNrRktOSbeJiZmYZl3iwuLc5OmvojnDcqxBte1+a8Mo3zEcrZEPaJmjcsM3V545JtOyltCRqb/73Rso3shHPqP8AfjBHBhJ3RaXBPtvIp5LUlTyFaY0xJupF2sCGHau8RYIxiQXARuNZrBVl65v4Lv3nogE4NMKRqVeNGmY2zyRNTf8A0bAhkflWNtDp0RaeD4bIlDNKl2sP+ow5R6bX1Hm74VpF4NpHeoNwLAWGoG4c1hFL8L+H8VVS5yAgkEk9IzXU+LMvYoi7JQtcnedfyED+2GzhrOJtl5BfMW8l1tbTrAjY4MJK6Kt2bkKK/D3IV1mF1OmhDynXlA8/Kt3ReMqSqkkAAm1yBqbbr+JgB2c2JmSHAbIeJmBpbEnUElhbTQjQeMHMrjSBmyX1uBe1tbWPhBJ3YsY2OmFHNPSaWGRlC3F7i5tY3A6STbzxq4uo8tLXYlstzb5umg05/wDmFHO6MY5KRnblCcjgE5ggUi1zbUag/Bv2RjUSZ4zmU6kt8APcKlgLCyjXXN5oDTsgC2jPv1Q/UP8A5IM6Xj87cYEya5SrEm+bkggqPm8998CO0VM5xiicI5QJq4Viq/8AU3sBYc2+GjmLLIkcE+Uqv6q+hYaHwX5Sq/qr/LDRKGR16T4lyXY5cAl5qqvUbybeJYQH7B7cyJE5cOWVMUGcwLzHUkHc3wVGnJ6IM9mPjtb9cfiaKZ4UaM0eLtNA0ZlnC3XqwhYXtYppFtpdrdHpYubb/bRcNSWzSzMLsRlBtuG+JOnx9WoxWWGUys9r35t1+2KJ4YNofZU+SBeySFJ6M7i5t33jrpNqrYA8i9n4wSxbyD6NwPfDX3klBXcXuxf+lg7IcJhr5zS0pyoVS7MW3AAkaDpIiBn8N6qSPYpJBIPK0uO+H4DMJy0lRUkavmVTz2UajzA98VZgUinesK1RCycz5iSRaxNtQd94AdrKyV2W/s7wu+yqmTTinymY4XMTuvvPwoIOEfaIUCS5rSeMRyVNjYg8179sDeyGB4CauUaOZMacpzqM5YDKLm46IKuFPCvZGGz1A5SATF7U19ECBqzSaVxthsWl19M09F4vlFSuhItoCfA+ED2DbTSMQqZlDlZAMwzXHKyG2gIPRANwX7T+xqauQ3/6JdfrWt3c/jAxsVixkV8mcdf2nK68x/O0AWWH/X53DfhFw6koJstM092ZSxBKEAX6AF1OnP3R3UPB7Kak9lzJ0yWCpmZSqaAagHvgY20qTiGM5Fuy8YstQdxUanxEWbwt14pMMEhDYuFlqB5KjX+ENrMXZQya/FmU/InSJxaWjTLlX3hQGsNwsei53RLJgxp6eWWlheN4xldlJfIi30NxYHm3dPPAjh4eRMkTyOSxuvWobI4Pdfxi/tsKUzMOacQthJLLbmzACw6NDG6wipJ2drY5f2gC2N2/nU1O8umWW6hwxWcjXXMoW65JlspKjvPXBJK4YJqzJcmdTozvkIKZlUcZawIZmJtrr5opfAsQ4iar2uu5xvuh36efuifxRR+kZIU3H7Cx6d2sY2PTjFq9t6RaOP8AC8KabxbU2Y5Q11bSxvprbnBjml8OiAaUrfeH5xI1PB9STaZ6mejNNEtypDMBlW5S4HTqe+K04J9npFbVtJqFLJxZYAEqQQekQtwklf5bW/ncg4xyqSvlSsT4kKHJkODZiCvKlMTzXJdfuwRbBY6kmnnypmiyFM5AP6o6uq9Yfm/+xRE6myEiXRTKKVdUa5Utyij6FWHYygxU8yUWtnurK1nUG3KU8pG6RnUG3Sgicm4Sud9CEdIpOks1iv8ATok0LVdQquAZtTN5bW1Aa7TCDbTLLDW7FESm2ONcfMaShtSyTxaSxfLMZOQzOB8MXuqru0vqSLSuwFEQKmuP9HLeXK7QM85vFUUH+y3TA3spKD1dEjAENNBa/OUkzJ1/voDCY2S4lr03VlJLCmsOZzyuNppoKB6ecoVgCpQlTuzrudDYix037iNC7bfE1qsPo51tHqLMu8B1kTw69dmU+AjbwrSRnpZnP+1Q9YIRhfsKnxMCzziaBV5lxI26s1E7HzknvjX8rcfsYrV1TrNK+tZhbwWgCVVgCwzru+ygO2LHuukOurjn/wDrYmDHgvP7Kr+0X/KgP2L+N0f1x/lMYG8IiqEdavhkiw8E+UavsX0CFCwM++FZ+7/CFFY5HDpHiXJdjsw+hVKidNXTjLXHWCde+8Vv/wD0FhN5UiqAHJYy2PPZtV88WVRVaM7gMLoxVuq3OerriN25oErsPny5TJMOW6ZWDctdQARz/nGxyEk25WfC3oefdjcMetqwh5Vpbb+hJeVR3D0RCsZgBkX/AKTd0uOQIujgW2Tn002dOqZJltlCpmtz84/xRDVvB9POMFhKY0xnh+MtZQDr5jaC4araS37/AOS0tkcLFNhkuVax4ksesstwT12tHm/A8HNXVmnDiXmLnO2qixvr1R6tql/Zsq+QQAOywAjzQ2wGKGYxSmmLdmIa4GhN+YwCv5sbbyweDzYX2DWLPasp5gysmVTZiW0FtdYtiokh1ZDuZSp7CLGKF2L2KxOTXU82dKcS0mAsS1wB0kXi/bwIJ2VrYHkXHKZ6WpqJG6zNLYDcVzAgeYRI4vgjSaKjqbW4wvqN55WZSewQdcK2w9TOxDjqeQzpMVS5XmbcSevn0gu272UabhEunkoTMlBCqKLkt84DvJguOln98u/sV9wK4a1RiLVDjNkBck7s7G489vGN3Dxi/G1iU4Jyyk16Mza37d4g54Htn5lFSzXnymSazHkn4VlGgAHTpAHL2Gra3EWmVUmZLlTZjMznmXcNebTXuguGrJxss/XF+hAbV4hRTaWmlU5bjJK5WupAYHe2o+r4RZuFYnx+zcw86SzLP7rDX0xzY9wO06U8x5DTHmqt0U63PcYi9kMEr5WH11LNppoMxQ0sWuC1wCotu5zGPApFynK7/r7c/sBuzGz7VVFVZBd5JWYOnQWIHcT6YiMFdmqZGY3s6KL9AOg7ouTgV2dqKY1C1MlkDqAMw0I0BEDeOcH1TJxLPTyXeRxqzAy2sATciNuSS8PFWv1Lrx4Wo5wGlpLW+5FIcAvyg/2LReOOSy1NNVQSxlMABvJy2tFT8D+y9ZS1rTKiQ8tTLIDG1r9GkDzMirq/PsXRFQ7YSgtdUBRYFka3W0pCx7zr3xb94rDbDB6p6yc8unmTEbJlZcpBtKUHewO8GFqq6L6BNQrXk7KzDPZejU4dIlDQPTi/bNS7MesliYqvAKgSKimmzDYSZtph6OS8hyegDOxPUpi4dnpLJSyEcZWWTLDKd4IQAg98A22myk0Tnn08szJcw5nRfhpM+cyr85W0JA1Budb6ZUi7JrcbolSKlKE3hJWua+EzEkmT5MqWytxaOz2NwGmZRLFxz5Vckf2l6Yhqmny4bJf+sxB2HYlNNl+lDGGF7LVU1hLSQ0lb6zHTi1Qc5CmxZuoDtIiw8f2XEyhSlkEK0nI0ktuLICCGI8pWcFtdWvCqLldnRKrToKnTi72d2wf4Oa2XLk1hd1XKQ5uQLJxRGbsupHdAvsYPdlGOfP6JDxhU7OVOYCZRzSynTkCYAelWW474JdiNnnWpSdU5ZTIGMqSzLxrMyshcoDooQvpvN76WhUpSaVsilWVKnGpNTT18kEeBy29nVb2OUkDNbS45r9MKJ+nmyyWVWUkHlAEEgnfmA54UdEY2R5NWo5O9ty7AXhWtTXKSBcka9ZYRB0GxFfJXLIxIS035UUgEnTNv6hBXX7JSJrNMZpl3JJsVtc9F1jtpsOSWiot7KoA3cw59IWE3HArpCp1GpXd7LsCHtWxX6WP3T+cOdmMV+lj90+tBn7FXr80IUy9cPtGQ2MfuB/tXxX6WP3T+cMdm8U+lvMfzgxFKOk+b8ohvaRTb883X+0nqRm1kikaFN+JtfnMiPa3in0t5j+cZjZzE/pX8X5xK+0im8ub4p6kMdiKfy5vinqQbWXBDfDUPrfT3I0bO4n9KeY/nGQ2dxP6T8xiQGxVP5c3xT1IyGxVP5c37y+rBtZcEHw9D6309yN9r2J/Sf4oXtfxT6SHniUGxlP5U3xX1Y30mzciUSQC1xbl5WtrzaRqqy4IWVCilhJ9Pchva/if0mPPGR2exH52KW7AfzEEQw6V5C/dX8oy/R8ryF+6v5Q2vITYw4sGfa9iP0t5j60L2uYj9L+Y+tBMMOleQv3V/KNFbs9JnABrqFN+RlW/byYxzkMqNO+Lf5/JAe13EfpY+B9aH9ruIfSx8/rxJ+0em8qb4p6kONh6bypvivqwu1nwQ+wofU+nuRo2fr/pb0+tC9rtef/lj5/WiROw1N5U3xT1If2j03lTfvL6sG1lwRuxofU+nuRftdr/pg+f14x9rdf8ATB8/rxKnYem8qb4r6sIbDUvlTfvL6sZtZ8EGx0f6n09yJOzld9MHz+vDe1uv+mT5/Xib9pVLYLy+fXMLm/TpbzRgNhqbypv3l9WDaz4IzZaP9T6e5D+1uv8Apg+f142YJsxMl1cuqn1yT2QMNRZiCjKAGLmwGcmJT2jUvlTfvL6sNM2FpTreYOoMtvOsZtZgqOjfU+nuYbJkGqrDvGfm1+e0KJPBcDlUuYyy5zWBzEHde1rAdMKCmrRDSZqVRtfbsf/Z"/>
          <p:cNvSpPr>
            <a:spLocks noChangeAspect="1" noChangeArrowheads="1"/>
          </p:cNvSpPr>
          <p:nvPr/>
        </p:nvSpPr>
        <p:spPr bwMode="auto">
          <a:xfrm>
            <a:off x="0" y="0"/>
            <a:ext cx="339090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6" name="AutoShape 4" descr="data:image/jpeg;base64,/9j/4AAQSkZJRgABAQAAAQABAAD/2wCEAAkGBxITEhUSEhMVFRUXFRgXFxUXGBcVFxcVFRUaFxUVFRcYHSggGBslGxcVITEhJSkrLi4uGB8zODMtNygtLisBCgoKDg0OGxAQGy0mICUtLi0tLS0vLS0tLS0tLy0tLS0tKy0tLS0tLSstLS0tLS0tLS0tLS03LS0tLS0tLS0tLf/AABEIAOwA1gMBIgACEQEDEQH/xAAcAAABBAMBAAAAAAAAAAAAAAAGAAEFBwIDBAj/xABQEAACAAQDAgkEDgYJBAMBAAABAgADBBEFEiEGMQcTIkFRYXGBkVKhsdIUFiQlMjQ1QlVyc5Ky0RUXI4LBwkNTYoOis9Pw8TNUw+FFY6MI/8QAGQEAAwEBAQAAAAAAAAAAAAAAAAIDAQQF/8QAMhEAAgECAggEBQUBAQAAAAAAAAECAxEhMQQSE0FRcZGxMjPR4RQiUmHwQnKBocFiBf/aAAwDAQACEQMRAD8AtGdiHGu9PJmqJqqSxIJyDQcxHK1iLOCVf0gfOP5o5sBkZcQrje91PN1gwK7EbE09bTmbNaYpV8gCFALBVPzlOvKMJCKlG8jrqzdCSjC2KTxS4Bj+gqr6QPi3rwv0HU/SLeLevHB+qei/rJ/jL/04b9VFF/WT/GX/AKcNs4cRPjK3BdF6EgcEqPpFvvN68N+haj6Rb7x9eOH9VNF/WT/GX6kN+qmi8uf4y/Ug2cOIfF1vt0XoETUd0CmoNwAC6zXBJG8nlEaxitARuq275mbzHSIH9VlF/WT/ABl+pDngwox8+f4p6kNqw4k1WqE8aZra1RJ6eMt5gdY6qerKixmSz1lr/wAYFjwZUflzvvJ6kMODGj8ud4p6kGrHiJKpN5pBl7M6HleP/uOetmTHWyT5Us+V8I91zaBdODKj8ud4p6kZ/qwovLneKepG2jxMjKSd7InKSXOTfVS3+tr/ADX88bSZ5N/ZMkdQGneCxgeXgwovLneKepD/AKsaLy53inqQurDiUdWbd2l0XoELPO/7iT4D8453p5p31SfeI9DRDHgxovKnfeT1Ib9WFF5U77yepGOEHvDayW5f0SoonGoqZQ7z60P7Hnf92ni3rxEfqvovKnfeT1If9WNF5U77yepBs4cTdtPgv6O9sPmXv7Jk+f14x/Rkz/uZHgfXjhPBlR+XO+8nqRieDCi8qd95PUjNlT4m7epwR2nC5v8A3UjwPrxrnYPPPwa2Uv1R+bGOU8FtF5U77yepGJ4LKLy533k9SDZU+Jq0mqty6I3nBKnmxEDsJHoaMTglV9Jf4m9aOc8FND5c/wC8nqRieCih8uf96X6kGyhxG+LrcF0XodX6FqvpL/E3rwwwSqO7ESeoMx/mjkPBPQ+XP+9L9SIar2Wk0OI0KyS5DzATnykjK6gWso6YFSg94PTaq3LovQLMAxGbKnzaWe7TcozB7m+5dOUd3K9MNHPr+k5/2Y9EuGiUWXrU4tp2zS7Hdg3x2t+qfTHLwRfE3+2P+WkdWC/HK7sPpjk4IfiT/bH/AC0itPwPmc+l+auS7IOYaFChiAoaFaEIwB4a0PCjTTECHhCIvGqllAA0B5+iMBK51NVjNlUXMbApO8nxt6IisLmdGvX/ABPmiajFiM8Bgg6L9uvphZB0DwjIQjAKYQlbWxh2jTJBLdgv6bQGnRCtGVoVoYUxhoeFaMNMYUZQowDGGtGcNGgYEQCbZ/KWG/XP41g+IgD20Hvlhv1z+NIaGYs8jO/vnP8Ash6JcKER75z/ALIeiXDRzRPSq/p5Lsd+C/HK7s/iY4+B/wCJP9sf8tI6sE+OV3YfSY5eB74k32x/y0i9PwPmcul+auS7IOoaHho0gKFChQAKFCEKA0UcmJ0vGIRz20jrhQAB2ETTmIPMd3XfXzwU0z6RXGK48kiqmywCWzbgMo1/tHv3XjOq2inWGV8o6rDz74WEGzZTRZQMaplXLU2Z1B6CwHpMA2y2HtVrOaa7HTKjZiSr78w15tNIGqnA6hGKtJdmBNyEZhpuOYCxBHPFNTdcm5fYtqZVIwOV1Y9RB9EbqXdfp9AH/sxSEl550pwxe9rououenmi3Nj3dqVDMLF7tmDaspDEZSee0Y42NUromoUKFGANDEw5hiIw0UKFDwAYwjDwjGMDEwB7aH3yw365/GkHhgD20+U8N+ufxrDwzFnkbSPfOf9kP/HCh1HvpP+yHolwo54np1f08l2OnBR7sruz+Jjm4Hx7ib7ZvwJHRgx92V/Z/Exz8D3xFvtm/AkWpeB8zl0zzVyXZByYxh4UaQGvDwoUAChQoQMAChRG4riySfhG2l7xFja6UNSDbpFz58ohHUSHUGwT2vwJZlQ0/jChXklcubPqSoXUWOpHP5o5MHITKzy5c23zX13Hm1t32juxSW9aJwR5YYTBNk5W5TAA8llY3U67xpfoEckigqvgmnmBrdC211Nzm0h6csMxZxs8iy8Gq0mSw6LlGvJ00IOoFtCI4trqh0k3AOQmzkc1/gg/2Sd8DMwVTS0ky5bLKROXqFZ5rXZh8IclSe+3OLRhSz6iWpSpn06SWBVpc2YGbKdDlA3G3QbXguljcLPgCy1/EM02UCGBJFt1+zo6otLA8ZksssFlSZNlCfxdxcA2zHx9EVj7Lw+ULPUTKk3PJly8qMOYEnUHrBjqpdpQWzSaRZbEAByOMmEKAoF7C9lA5uaEnWjuGhRmWlWYsktC7XCgaX0LfVXf42jrpp4dQw3Hp0I6j1xWUiqmTizFWYo1phfQpaxNhutqNIPsIxBG/ZrzDTpPTfrveFhUuwlCxKQ0PDRUmMIeFCvAaMYRhXhiYxgIwA7Z/KmG/XP41g+gC2y+VMN+sfxCGhmLPLobQPfOf9mPRLhQ8v5Un/Zj0S4Uc8T1Kv6eS7G7BR7rxDs/ONPBB8Rb7ZvwpG7BT7qxDsPpaNPBAPcJ+2b8KRan4HzOTTPNXJdkHENChQERXhQxhQAKHAhoeACF2lwozkuvwl3Dp6oAMSlALcjIRoQd5PRY3JPUBFsTDoYBcXoUeas1nLMt+TYZSe09Bt4CI1IrMtTkyuqqQxfKrZTfQWJN7X3A6c++JDCcNxGoUtKqWUXK3LPvU2bc3SI6MZkKk9AgXnGlgOMcjUnnO/wAOuNeFzquW7SlAVDMYZpjGWmYAG1xv3jTddiemJYF1rONzN+D3EHP7SqDDtc+kxvwrg0/aETmNwA1hYXBuAb77aHnjt4rEqSXxst1YEFnl/DAN/msSc1xbUR1Y6tZMpKepSayPNYLNC2AVZh5Jt0Kea+4mMaBJ4HWmBUNMBmtu1YG+g6TApMw+VPdnlT3USyCACDdbghh1c24EG4ghpdj6fKSSWmZCrK7NlLG440rbNfU2AIG7oEbKTAJdHJYC5zkABt/R5yWMZbgNDemSXtclvbKxl7rgWIYb9d1mvzxP4Lgok2JbMwv0b2Nzzbv93iOmUc5llKAMoHKe4BG7Xr57RO0M0sWb5oIVevLe7d5Pmi8Fjkck2dkKFCi5EaFDw0AGJhoyIhoxmjGALbD5Vw3tb8Qg9gC2u+VsN7W/FDQzFnl0N0r5Un/Z/wClCjKnlk4nUGxIEsbhe1xLt6D4Q8c0T06rXy/tXYywX41iHf6WjXwQ/ET9s34UjZgnxrEO/wBLRq4Iz7iP2zfhWL0/A+ZzaZ5y5Lsg3JhQxhQEBGEIaHgAeFeGhEwANMFxaBPGaRFWax0FlAGt7k/NbW2+27mgrzdEBe3s0KZbM11zfAuN4U20Pf5oWSGi7AhtLTyuI4+WSHluM636GAU26CNb9sFWHYhKnS1NwtjdWGjA2sb9N+vo6op7a3agPMmJJBVTkVtQQSt84FuY2XzwUbDyDORJomGwfKUvzqM1j0jURGS1TopVIydkWxoyEam459/fGuilgUpS2iXtz6BjY+AB7410qcZJKglCy/CHwgSL316LwLU8qvQPTqTOSYQvGXylFzWJ5/m/7MLrWGsuIaF0KLMG617jW/ZAxtFiJnBBL3cYgz20Bd1Ve/U+EEiYakqUslBYa2t077d8cTYcpWTJ05U0TZnTaWbgDvCjvMbi8A1kldFJVG2VRT4hOnS2uM7KUe7IyKxUKy31FgNeYi8X7sXtHLr6VKiWMt7q8u98jrvXs3EdREUVwzYVSU9blpi2dlzTZdrohbdla97neV5rjXWwz4IdsloJ0yXOzGTOC3I14tlvZ8vPobG2ug32tHQszgvZ4no8QjEbT49TPYpPlEHcQwsb9cSKtcXhjTKGhs0PeA2wjDGFDGMYDGATa4e+2G/v+mDswB7WfK2HfvemGhmLPImcMq5a1lUhB4wlWvYWyqiAC9992h4j6H5UqPsx/wCOFEYt2O6tBXXJdhsB+NYh+9+Jo1cEXxE/bN+FY24EPdOId/paNHBB8RP2zfhSHp+B8yemecuS7IOYaHhRpEaHhoeAwaArHOEemp6o0xVmVNJk1dcky1wgX51tLm4tqOaDOa1gSBew3dMeY5VTnnzi2rNUTWa++5mMde8xqV2LKVkSm1nCDW1LNaYZMm9llyzlNr6GYw5RJ8IB6+axILE3PSxY9946KmWJU51mXIbUEdB1Fx1XsRzGObEFAy2N94v1X0/jBuI43xON4trCJPErJmU8xWRklmcgIOWYqBTMFjoLb+yKoYRYvBZgAmgznJWWGKlgbEtbRE5ibBr3vpEamR1aOvmLilzROloyOFNtRYEsB0G+l7dB7ogmr5sqYVZ5++4CiXkYX0GbKSpPVG2ZhxUMKeZa4B4ubYgm4+Cy2K68xHPzRJbOqJhJcAMuVspuLEjW4OvZfdEsW7I6lLUWKNuHpmKTpxIcE2AZ8o38k30ftIiI2oxR6W9SvKYqJMiXztMuWaYf7CixPWAOeCXamfxchpqqHKC9umw3dkU7WV0+sf2SzBjayoOSJQ8hR36km5tGTeoUoU3XkRu2lEtWkmdJDvUKhWozAKJhzEh1uQbi5BuBpbogDlzCjA7ip17t4izpzTBKmF9CFYi51Atz267xWM6WwJDCx3nv1itCUpZk/wD0dHp0nFxzZY2x9KzKzZhZraA6dvbr5oljWzpLcmY626CYC9g6+Yk4SweQ97jo0+EOiC3E2BYgtqBe3SI68zzFlgFlPt7NWQxZFeYLZWGgPW6857P+ZjYfbI1TmTNUCYBdSNAQN4IO488V1h8osVQfOYLu6SNY1U9QaeqVlJUm9ju1I6u/xg1UbrPAv0xiY1UNUs2WkxTcMoPm1jcYkyxjALtaPffDv3vTB0YBdqz774d+96TDQzFnkdND8qVH2f8ApwofD/lSp+z/ANKGjngehXzj+1dhsC+M4h3+lo08EHxE/bN+FI3YEPdOId/peNPBB8RP2zfhWLU/A+ZDTPOXJdkHEICEYQgID2hQ0KADmr6pZaM7nKoFyegdMeT8Snn2RNeW5vxjkMd7gubPrvJFjr0x6f2xoGn0c+UnwmlsF5uVbQX5r7o8yUiifLK/PGoX5x6SnX0rzxqJzN71supQq65ZoHJPMT/AwPXNreaOlkKnXuYbu+MFTXfz3jGxEaxF34PgyysIEgkrOQmY+XQiY/K1HPZWC36jFcbJYCZ09CdVDK2XpswO/dbee6Lzp62mms6sn7Q2bQEllYCx0363HaDEqmR16NHNkDsxjIqWMkOqm05jMvuEx7ypYBsSVBHcsEeKYdVkfsp8s6scrXXNrdeUoNtLixEQErBqBJxDowzakag773sNbXvuiQraGVLVnkVhUZTyXYOALWNtQfOYidmbRuoqk1ciclmUCXkPKAPG2JIA5tw/2YrQ00+nyzJsl1Rr2YC6mxtqeZuo23RaGylA6yC00g3zBbBlugHwuVrrZjBPQylylea5/wDRHp74fZayRi0l0ZPVKRNM9YhSn5bWvpusDcgk6AdsDNZgodQ78lixtoNLaWPSNI9CzcPlyxOMpERnDFmVQCzZSAzW3mKNnUrz5STJWuVRmB00OoMXoQ1VY5dNr7eSlbcc2B4RPktcS1N90wugXKefeSOm1r6RIzHkrNVnczDcAi2VLX1GhuR3iNMrBZ2QOXOTNY26egRy1OF5J8tBfeSSTzAgb/3o6DhC7ZjEQrM5UDR1tb4J+aRfdqAOyILaA3qpKrvzAW598ddLNGbk/BZnI7My2PgDHFhR42vz/Nlcs9oPJHjGGt4WDLg0xh0rZlGzXR1ZlB5nTXTtXN4CLUMUHsxWIuKrUM1pchZs2YQCbIkps1gNTv3CL5lTAyhlN1YAgjnBFwR3ROaxKQd0OYA9qvljDuxv5oPWgC2pHvxh/Y380EMxpZHbho99Kn7MeiVDRnhQ99Kn7MeiXCjmid9fOP7V2NOBN7oxH970vGvgiPuE/bN+FYzwQe6MR7/S8a+CEe4T9s34Vi9LwPn6kdL85cl2QbwoUIwEB7wxMKGJgAG9vdqpWH0/GzAWZjlloNCzWvqTuAG8xReD0dPNmvPcBCWzLKlnki+ptz90XJwsYCtXQsCbPKPGI3QVHKHYRceEed6VRuJOhGu6NSuSm2gpxKhkliclid5BO/dr094iAo8HebUrTyAWZjZVO/pN+gCx16ImqNZrsFvfTVjuVek9W6LU4N6UGW02WtkJyqxHKKgAsxa3ObbuiNkkjIfMZ4Ls3Lo0EpTmfiw0yZ5TMWGnQotp29cROyWJOk9icrf0eptqGJKX5rnUdvbBdigKz3vYBpKMvajOrjwMvxiv6+jmrNJl65zlIsLG+ouD6Y555no0UrBjiu0NMxCT5WoJsJiHMLc45/CIirSnnlJcpCOMYAZ2ITXyVmHl6X0F4G9oMfny0loCRmUETWtmZb2AU82o7d0cWxrtOxKnM0l+VmuxLE5dRqeuGjSbxYj0lRerEuxlZWsvwStvqstrW7QT4GJGhllVAJuey3miHxinqOMUylzKd5BAtrzgnr5uiJaTmU2bXoPSP4GNje5GQqxLXPTf0RQWyR0POMjD7psD5hF743UBJE2Z5Etm8FJihNkgbogNrgg9YuTFoLMjN2aOtpjjQMQvOLc/ad3hGOMS3KcfmJBW3Na9wLnTQ6+eHqBbNHPTuzgSt/KzdwuSPG3hFbEr7iOrK3iyi84Q27wFjYJ3saQR/STNW6R0COOpa9cBa4W2nSbG2nbaJ7Y2kSZNm19YQtNTHQsNGnk2RQLcorqbdOWM3Cq97GjEJLUFA7zLrPqVyBDvWWy3YHoOU69oEXzs3TtLpKaW3wlkS1PaEAN4qzZmg/SlVNxKrQ8RI1kSTuZhduV02sNOcm24RaeATS0kEkk5muT2xJnRBEgYAtqD784f2N/NB4YAtpz780H1T/PBA2WRI4X8pVP1B6JcPE3Lo5aO80Ly3+E3PuAt1DkiFEYxsdNSqpNW4JdAbwP4xiH73peNXBF8SP2zfhWM8D+MYj+96XhuCUe4f71/QsPS8D5+oaZ5y5Lsg1MKFCtGkR4wJjKMWjTCq+GvH2SR7HQ2zOFNueyh/DUeEVRJkoyINwVdRpdm5yT2xZfDThRmTZJUi72AB8tdCfBx4RD4RstKkhTNbjHsc4B/Zqb6ZToSctt+4kxsGSqRbeBHvI4qiecbBm5KKNLfNv12Gbvi4+D6Uow6UB5J3dRIv5oo7bbFlf8AYS/gKQNN2g3DqEWlwR4yGo1B+azIeofCXusw8IJm07XsgrxKSHlXI1UE/umwf+BgZxehDEFLZmsiNocuYAM/cufxgprby8zIb2Qso5ybWCjrJI80DMyqGHUqicFmziBlS5AUEfBDdt93MOq8RkrnVF2Vgc4V6EexQ6AASnRjp81xxRUd4lG3VA7wbLfEZH1T6LxH7Z7VTqo5DZJQIJRL5Sb8nMTqxHhHZwd1Sy8Qpy24hkv1sunntF4pqGJySadTA9DyX/31iGzWOVtx3H+BjWOe3QD4/wDEbcpIObu6tP8AmJlQb26BFFWC+nsdyOrkkERReBzioRgbEX9Ji+dql4ylnSr6tImdwyE/wjz/AITYyx2mK0iFVYoKZxQ05a/KLW7rRp2XUO83+wif/ozfwSIqaxy5euJ3YhAtNUTz8+dlXslIAPOzRR4IRYsCaNicQYE6tOy9+bKIs6fsc895SzZhMlSSkpBYcYxIJY87WsL9HRFd7d0Ak1qlDZnRJh6VcEgnq1UHtvHobApPGU0qYdHZVdiPKsNfNE3IpGOJy10qXSUqyVstxqBuyrqe7QCJjAZJSnlhtCRmI6C5zW88cVXgHGzxMmOSgseL6SNwJ5l6ueJ0wrZVGJgA2n+WaD6p/ng/gC2n+WaD6p/njYmTy/lE/RYo0yrnSCAFlrcEXuScp1+9CjiwhffKq+oPQkPHNFs7K0YxatwXY48E+MYj+96XhuCT4h/ev6Fh8EPujEf3vS8Y8Ep9wf3r+hYpT8t8xdL85cl2QbQjDXhXhiA8YzTpGUaqg6G2+NMKi4XqnJMlte15a5eolje3dbwgDXGnJZSTylI794iw+GijEyk40aGW47QDvHmipnJKrMAvuuB1j87xsSdS5oqByrndz9+kT+w21jUM27AvKOjqDa++xF9Lgk+eBqpzE3IsN4ENNHzh+8Og/kYGSTtkehcF2iWsu0m+RALXtnVz809QsfHrgQ4QaxRmYzS7ywcwHwJZYCy353J1MVnhGMVFO+eQ5Vh2FSN+VwdCOoxhjePz6o/tWFgSQiKstFJ35UXQdu+JtHSquBtw2ZnVlPk+cbo6aeay5WUkMhBB6CD/AMRC4fUZG6jExn1MXi7o5pYM9BbPYjMenl1aG8uYg4yXvysOSxXogtMwZM3Na8AXBBUH9GgWBAnTV17jbzwUVc29pYOh39g3xHJnSndIj8QUvJqG3EyXHWMwsoPdr+9FF7NpyZgPzCfRb+EehkpS8llvlMy4utgQtiABcdAigKenanqJ0lhZmBv32Yf4TFKZKrmjXWzgqs3QL/l54ONkqECTTU9tQONcDW7f9QjvOkA1ZJzPKl+U2Zvqy+Ub9wMWvwcSHNRNZ1IySgLEWsZjAjzI0UmTp5kLiewoq582fPzgKmRMv9YLsL9NiWvzbosbZ7kypadCAeAiXZQRYxqpqVUFl/31RFs6ErG2FeFaGMYaKAPab5ZoPqn+eDuAPaX5Zofqn+eGj6izyJPBT75VY/sL6Eh4WCj3yq/qr6EhRGGXU69I8S5LsceDfGMR7/5418EZ9wf3r+hYzwf4xiPf6XjXwR/EP71/QsNT8D5maX5y5Lsg2hXhQo05xwYwnHSM4ZxeGAD9r8INTTzJQNswOh3E20v0R56n0lRJ/ZlTppa3Tvj1LOl30gaxSgGtx5gYEZOOsedTMbcwsR0i0ap80c0Wvi2wi1Uy63lkDeACCOa4iExDg4eTKmOWDAAHNpe2YCyqIGyWo0V/nNrRktOSbeJiZmYZl3iwuLc5OmvojnDcqxBte1+a8Mo3zEcrZEPaJmjcsM3V545JtOyltCRqb/73Rso3shHPqP8AfjBHBhJ3RaXBPtvIp5LUlTyFaY0xJupF2sCGHau8RYIxiQXARuNZrBVl65v4Lv3nogE4NMKRqVeNGmY2zyRNTf8A0bAhkflWNtDp0RaeD4bIlDNKl2sP+ow5R6bX1Hm74VpF4NpHeoNwLAWGoG4c1hFL8L+H8VVS5yAgkEk9IzXU+LMvYoi7JQtcnedfyED+2GzhrOJtl5BfMW8l1tbTrAjY4MJK6Kt2bkKK/D3IV1mF1OmhDynXlA8/Kt3ReMqSqkkAAm1yBqbbr+JgB2c2JmSHAbIeJmBpbEnUElhbTQjQeMHMrjSBmyX1uBe1tbWPhBJ3YsY2OmFHNPSaWGRlC3F7i5tY3A6STbzxq4uo8tLXYlstzb5umg05/wDmFHO6MY5KRnblCcjgE5ggUi1zbUag/Bv2RjUSZ4zmU6kt8APcKlgLCyjXXN5oDTsgC2jPv1Q/UP8A5IM6Xj87cYEya5SrEm+bkggqPm8998CO0VM5xiicI5QJq4Viq/8AU3sBYc2+GjmLLIkcE+Uqv6q+hYaHwX5Sq/qr/LDRKGR16T4lyXY5cAl5qqvUbybeJYQH7B7cyJE5cOWVMUGcwLzHUkHc3wVGnJ6IM9mPjtb9cfiaKZ4UaM0eLtNA0ZlnC3XqwhYXtYppFtpdrdHpYubb/bRcNSWzSzMLsRlBtuG+JOnx9WoxWWGUys9r35t1+2KJ4YNofZU+SBeySFJ6M7i5t33jrpNqrYA8i9n4wSxbyD6NwPfDX3klBXcXuxf+lg7IcJhr5zS0pyoVS7MW3AAkaDpIiBn8N6qSPYpJBIPK0uO+H4DMJy0lRUkavmVTz2UajzA98VZgUinesK1RCycz5iSRaxNtQd94AdrKyV2W/s7wu+yqmTTinymY4XMTuvvPwoIOEfaIUCS5rSeMRyVNjYg8179sDeyGB4CauUaOZMacpzqM5YDKLm46IKuFPCvZGGz1A5SATF7U19ECBqzSaVxthsWl19M09F4vlFSuhItoCfA+ED2DbTSMQqZlDlZAMwzXHKyG2gIPRANwX7T+xqauQ3/6JdfrWt3c/jAxsVixkV8mcdf2nK68x/O0AWWH/X53DfhFw6koJstM092ZSxBKEAX6AF1OnP3R3UPB7Kak9lzJ0yWCpmZSqaAagHvgY20qTiGM5Fuy8YstQdxUanxEWbwt14pMMEhDYuFlqB5KjX+ENrMXZQya/FmU/InSJxaWjTLlX3hQGsNwsei53RLJgxp6eWWlheN4xldlJfIi30NxYHm3dPPAjh4eRMkTyOSxuvWobI4Pdfxi/tsKUzMOacQthJLLbmzACw6NDG6wipJ2drY5f2gC2N2/nU1O8umWW6hwxWcjXXMoW65JlspKjvPXBJK4YJqzJcmdTozvkIKZlUcZawIZmJtrr5opfAsQ4iar2uu5xvuh36efuifxRR+kZIU3H7Cx6d2sY2PTjFq9t6RaOP8AC8KabxbU2Y5Q11bSxvprbnBjml8OiAaUrfeH5xI1PB9STaZ6mejNNEtypDMBlW5S4HTqe+K04J9npFbVtJqFLJxZYAEqQQekQtwklf5bW/ncg4xyqSvlSsT4kKHJkODZiCvKlMTzXJdfuwRbBY6kmnnypmiyFM5AP6o6uq9Yfm/+xRE6myEiXRTKKVdUa5Utyij6FWHYygxU8yUWtnurK1nUG3KU8pG6RnUG3Sgicm4Sud9CEdIpOks1iv8ATok0LVdQquAZtTN5bW1Aa7TCDbTLLDW7FESm2ONcfMaShtSyTxaSxfLMZOQzOB8MXuqru0vqSLSuwFEQKmuP9HLeXK7QM85vFUUH+y3TA3spKD1dEjAENNBa/OUkzJ1/voDCY2S4lr03VlJLCmsOZzyuNppoKB6ecoVgCpQlTuzrudDYix037iNC7bfE1qsPo51tHqLMu8B1kTw69dmU+AjbwrSRnpZnP+1Q9YIRhfsKnxMCzziaBV5lxI26s1E7HzknvjX8rcfsYrV1TrNK+tZhbwWgCVVgCwzru+ygO2LHuukOurjn/wDrYmDHgvP7Kr+0X/KgP2L+N0f1x/lMYG8IiqEdavhkiw8E+UavsX0CFCwM++FZ+7/CFFY5HDpHiXJdjsw+hVKidNXTjLXHWCde+8Vv/wD0FhN5UiqAHJYy2PPZtV88WVRVaM7gMLoxVuq3OerriN25oErsPny5TJMOW6ZWDctdQARz/nGxyEk25WfC3oefdjcMetqwh5Vpbb+hJeVR3D0RCsZgBkX/AKTd0uOQIujgW2Tn002dOqZJltlCpmtz84/xRDVvB9POMFhKY0xnh+MtZQDr5jaC4araS37/AOS0tkcLFNhkuVax4ksesstwT12tHm/A8HNXVmnDiXmLnO2qixvr1R6tql/Zsq+QQAOywAjzQ2wGKGYxSmmLdmIa4GhN+YwCv5sbbyweDzYX2DWLPasp5gysmVTZiW0FtdYtiokh1ZDuZSp7CLGKF2L2KxOTXU82dKcS0mAsS1wB0kXi/bwIJ2VrYHkXHKZ6WpqJG6zNLYDcVzAgeYRI4vgjSaKjqbW4wvqN55WZSewQdcK2w9TOxDjqeQzpMVS5XmbcSevn0gu272UabhEunkoTMlBCqKLkt84DvJguOln98u/sV9wK4a1RiLVDjNkBck7s7G489vGN3Dxi/G1iU4Jyyk16Mza37d4g54Htn5lFSzXnymSazHkn4VlGgAHTpAHL2Gra3EWmVUmZLlTZjMznmXcNebTXuguGrJxss/XF+hAbV4hRTaWmlU5bjJK5WupAYHe2o+r4RZuFYnx+zcw86SzLP7rDX0xzY9wO06U8x5DTHmqt0U63PcYi9kMEr5WH11LNppoMxQ0sWuC1wCotu5zGPApFynK7/r7c/sBuzGz7VVFVZBd5JWYOnQWIHcT6YiMFdmqZGY3s6KL9AOg7ouTgV2dqKY1C1MlkDqAMw0I0BEDeOcH1TJxLPTyXeRxqzAy2sATciNuSS8PFWv1Lrx4Wo5wGlpLW+5FIcAvyg/2LReOOSy1NNVQSxlMABvJy2tFT8D+y9ZS1rTKiQ8tTLIDG1r9GkDzMirq/PsXRFQ7YSgtdUBRYFka3W0pCx7zr3xb94rDbDB6p6yc8unmTEbJlZcpBtKUHewO8GFqq6L6BNQrXk7KzDPZejU4dIlDQPTi/bNS7MesliYqvAKgSKimmzDYSZtph6OS8hyegDOxPUpi4dnpLJSyEcZWWTLDKd4IQAg98A22myk0Tnn08szJcw5nRfhpM+cyr85W0JA1Budb6ZUi7JrcbolSKlKE3hJWua+EzEkmT5MqWytxaOz2NwGmZRLFxz5Vckf2l6Yhqmny4bJf+sxB2HYlNNl+lDGGF7LVU1hLSQ0lb6zHTi1Qc5CmxZuoDtIiw8f2XEyhSlkEK0nI0ktuLICCGI8pWcFtdWvCqLldnRKrToKnTi72d2wf4Oa2XLk1hd1XKQ5uQLJxRGbsupHdAvsYPdlGOfP6JDxhU7OVOYCZRzSynTkCYAelWW474JdiNnnWpSdU5ZTIGMqSzLxrMyshcoDooQvpvN76WhUpSaVsilWVKnGpNTT18kEeBy29nVb2OUkDNbS45r9MKJ+nmyyWVWUkHlAEEgnfmA54UdEY2R5NWo5O9ty7AXhWtTXKSBcka9ZYRB0GxFfJXLIxIS035UUgEnTNv6hBXX7JSJrNMZpl3JJsVtc9F1jtpsOSWiot7KoA3cw59IWE3HArpCp1GpXd7LsCHtWxX6WP3T+cOdmMV+lj90+tBn7FXr80IUy9cPtGQ2MfuB/tXxX6WP3T+cMdm8U+lvMfzgxFKOk+b8ohvaRTb883X+0nqRm1kikaFN+JtfnMiPa3in0t5j+cZjZzE/pX8X5xK+0im8ub4p6kMdiKfy5vinqQbWXBDfDUPrfT3I0bO4n9KeY/nGQ2dxP6T8xiQGxVP5c3xT1IyGxVP5c37y+rBtZcEHw9D6309yN9r2J/Sf4oXtfxT6SHniUGxlP5U3xX1Y30mzciUSQC1xbl5WtrzaRqqy4IWVCilhJ9Pchva/if0mPPGR2exH52KW7AfzEEQw6V5C/dX8oy/R8ryF+6v5Q2vITYw4sGfa9iP0t5j60L2uYj9L+Y+tBMMOleQv3V/KNFbs9JnABrqFN+RlW/byYxzkMqNO+Lf5/JAe13EfpY+B9aH9ruIfSx8/rxJ+0em8qb4p6kONh6bypvivqwu1nwQ+wofU+nuRo2fr/pb0+tC9rtef/lj5/WiROw1N5U3xT1If2j03lTfvL6sG1lwRuxofU+nuRftdr/pg+f14x9rdf8ATB8/rxKnYem8qb4r6sIbDUvlTfvL6sZtZ8EGx0f6n09yJOzld9MHz+vDe1uv+mT5/Xib9pVLYLy+fXMLm/TpbzRgNhqbypv3l9WDaz4IzZaP9T6e5D+1uv8Apg+f142YJsxMl1cuqn1yT2QMNRZiCjKAGLmwGcmJT2jUvlTfvL6sNM2FpTreYOoMtvOsZtZgqOjfU+nuYbJkGqrDvGfm1+e0KJPBcDlUuYyy5zWBzEHde1rAdMKCmrRDSZqVRtfbsf/Z"/>
          <p:cNvSpPr>
            <a:spLocks noChangeAspect="1" noChangeArrowheads="1"/>
          </p:cNvSpPr>
          <p:nvPr/>
        </p:nvSpPr>
        <p:spPr bwMode="auto">
          <a:xfrm>
            <a:off x="152400" y="152400"/>
            <a:ext cx="339090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0" name="AutoShape 6" descr="ildresultat för recruiting"/>
          <p:cNvSpPr>
            <a:spLocks noChangeAspect="1" noChangeArrowheads="1"/>
          </p:cNvSpPr>
          <p:nvPr/>
        </p:nvSpPr>
        <p:spPr bwMode="auto">
          <a:xfrm>
            <a:off x="914400" y="914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1" name="AutoShape 8" descr="ildresultat för recruiting"/>
          <p:cNvSpPr>
            <a:spLocks noChangeAspect="1" noChangeArrowheads="1"/>
          </p:cNvSpPr>
          <p:nvPr/>
        </p:nvSpPr>
        <p:spPr bwMode="auto">
          <a:xfrm>
            <a:off x="1066800" y="1066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" name="AutoShape 10" descr="data:image/jpeg;base64,/9j/4AAQSkZJRgABAQAAAQABAAD/2wCEAAkGBxMTERITEBEVFhUTFhYXFxYVFRoSGxYVFRcYFxcRFxYYHSggGBolGxYXITEhJikrLzAuGB8zODMuNygtLisBCgoKDg0OGxAQFysiHR81LS0rKy4vLS0tNystLS4tKy0tNystKzYrLTc3LSstLSstLS0tKy0tLS0rKystKysrLf/AABEIAIYBeAMBIgACEQEDEQH/xAAcAAEAAgIDAQAAAAAAAAAAAAAABgcEBQIDCAH/xABEEAACAgEDAQYDAwcKBQUBAAABAgADEQQSIQUGBxMxQVEiYXEygZEIFBUjQlKhJENicoKSscHR8DNjorPhg6Oy0vEW/8QAGAEBAQEBAQAAAAAAAAAAAAAAAAMBAgT/xAAgEQEAAwACAgIDAAAAAAAAAAAAAQIRAyEiQRIxBBMy/9oADAMBAAIRAxEAPwC8YiICIiAiIgIiICIiAiIgIiICcbLAoJY4An0nEqPvV7eBAaKG58iRAlPWu8jSUMVLZI9p19N7ztHacF9v1nm264sxLEkmdTZ/ZzNwexNH1Kq0ZrdTn2My55F6B2p1GnsXbY2MjjM9O9kesDU6dH3AkgZmDexEQEREBERAREQEREBERAREQEREBERAREQEREBERAREQEREBERAREQEREBERAREQEREBERA1/XrSuntYeYUzzJT0p9VqbGYnG4/4z0319N2ntA/dMpbs1Rhnzwdx/xnHJbI6V4axa3b5ouxFeBkZmXZ2RrA4STPS1fDOu+xR5kTz+U+3s8I9KW7V9nfC+ITc91HXratSle87ScYm87ZabxKm284kO7u6s6+oezS/FbYeTmrlunqRDkAz7ONY4H0nKURIiICIiAiIgIiICIiAiIgIiICIiAiIgIiICIiAiIgIiICIiAiIgIiICIiAiIgIiICIiB13puUg+olNda6Q1d7+Hnkk8S5mceRIkZ1OjBtYkZz6zi+q8Wb2jHRUtK7WJ8pg6rpdu8kZMmCafBPwn8J211+6yWSvtURs6YRWd/niRvsX0pa9Z4h890nfW7+CBNR2P0y2ajb7HMyu7022ZsrVrOQPpOU+KuBifZ6XiIiICIiAiIgIiICIiAiIgIiICIiAiIgIiICIiAiIgIiICImLq72UjaB5esDKiRXo3an87/OhUK8UWtUGS0WbwFUi0bT8IJLAef2Tz7art11azT0acpqhQ9lynL5ZWqrVrLq8kHb8IGD5k4A84E9dwPMgfWcPzhf3h+MivROsV67TpfpnfYX2lXyrI6/ardcnBGR7+cr/vg6mter0qAujaNG1Qccq1rE+Hp2XjBPg53Z8mYY9YFzX61FGSwP0Mw9d1+mmtrb28OtPtO5AAyQBk/UgffI12K6k+v6fTqbalra0t8KZ2/A5Tcu4kgHaeMmaPvf6morp6cKwX6gQosdsLUFsTDkAZY5+mMQLGo6vW6q6fErgMrLghlYZDAg8ggg5nTT1csMhP4yv+53tSNZVZpvDCjRLUlbeRspG5EZ1yQHARc4OMmTuxRVTZYf5tXf+6u7/KBrum9u9Pfq79HVk3afO8EYU7SFcI37W1iAeB8szaX9TfKgLjJxnP8A4lAaiz9Ga/pt9eX1OpqS/Ug5II1Qw1QCnk5Lt7Z2YHHPoWzS/EvyMCM9uu1t2g0bahaxYQ6IFPwgb8/GxHOOMcerCbTs91uzU6XT6jbs8atX2nnbuHlnjI+ftiVR277TWWdZfp9rD8zUbGqIXa7tQWDscZJFjKQCcAoCOZuu7btBc3VdXoXs3adFtNCYXFYrsQKiEDO3Y5GM4+EQLEvVms5/dmq63on8O1qsBxW5QtwA+07SxweN2PSSY08/dKg7/L70fRCkvtRbbrEBO0it6druvkwBPr7w2Jxse7mnVXaEWazLWmx/tjDivgKHXAIO4Pj5EfQb4UsrKQB9oeYlRdne0dmp6vptZsKV1vXVbhsjF9lipu9x+sC/2RL31VQHn55nMw7rZEuo68gHNaH+yT+A3czq7sOq/nVTalKUq+JkwATyuDkMTyMEennkTW9quoNRZpDgbDcHtB4/k1ODcffyYcDk+XOcTU6ftA3ShpaaHW6mhLTqwrBiwu1DtVYpHHiCvDYzyGwfMGc0rjeS+9QuKrqVgcggEAZ9vb/WY3Uu11NF2mou+GzVMVqGCQWXGckDC8so+pHzMydEFsAsXydQR6cHB8j5Spe9Dtaiatq1Srx+nPVZQXBPxsqvYzejDGwBBjkbieAJRJcLdUIBJTgfOLeuVJWbLDsRVLMzcBVAyST7TX9C1B1Oi097KFN9KWFRyAXUMQM+nMj3eV1lNJpaq3rDjWP+btltoWt1Iss48yAeORyc+mIEw0PXqbq0tpbfW4yrryCM4/xBH3TLp1yNnnGPciVZ3a9crGqt6RUoNWlrLU25+JyCpuV8cE77GIIA4HOfOTzVhKVuutOErUu59kRSWP4AwN3+cL+8PxnJLAfIg/SVD3a9Tvtvst1N/iVdQ3Pph8RCPSA1lCgjCbQxQ+/hAjOcyf6txStttlnh1ou4sxIVQB5nHpmBIokB7F9oGvUafU3qdbWm+1a9wUozfq7FPkcoyZx5Z8hNv1Lrtml05tNRtw6LtBwf1lipuyxxgbs/d6DkBJ4mFpdUzMPslTyCvORjgg58pmwEREBE19vWaVtNJZvEC79orsY7M43jCnIzxmZOh1ldyLZS6ujZwynIOCQR9QQQR6EGB3xEQEROrU6lKwDYwUMyoCTjLuwVFHzLEAfWB2xPmfT/AH/viden1COCUYMFZlODnDKcMv1BGIHbERAREQEREBMXqC/q7MDJ2Nge5wcATKmBr9TsdP8AfrAqXuM0tlWo1dVrGxRp9OUtXc1e3c7bEYgcZdhj3VsTaflAdJV+nV6gbs6awYAPw7bSqsWHryqAHjzPvMjsCy1U3lGBCbKMj304bd/Gz+Ez+3txu6c2nU/Hq2ooT15sdSzY9cVrY39nMD73Q9DSjp1NuLFfUpXZYrsCAVXapVQAFBUA+5GMknmVt+UFelfUK1SvLWaZWdmZ8E7nStgu7buRVYA4I/WH18rJ7HdUcaUae45u0dn5rYfLd4f/AArQPZqyh/GRPvR6Iur6jXuGcdN1TKP+ZV4hQ/3nH4QJV3K2uej6cXIy7C6oWGN9ZYujr7rh8Z/oyE/lCOE1nTbDnChyceeEsQnHz5k47vOoA9H0JU8CkL96MyEfipmu76tIlvS7HYDdS9TK2BkK1ioy5IyAQwJ/qiBD/wAm0fynW+3hV/8AzMu7rNAs02orH7dVi/3kI/zlady/Qq9MmsurdnFmosprYkFXoobCWgAfaJL85x8pY2k1QI58swPLGn6lqOoa/RZUNYp09KCtSPhqIwcZ8wAST9fKeuTiebO7Xs/Zp+0K02rtOl8ZyMg/D4bCtsg8g+Ih++egn1PK/MwPOfe7pzpuuXOOd5ruA8vtIARn+srTddxmberPYeNuntY+vJalMZ/tEzdd/wDpt36OuwDttesg+ofYyg/L4W/Ez53fivp/WuqacnamwlB6bQ6WKo+i24HyBgXVkSk/yiLLEfTOjgLZTbUwJGWBsrchR5n7K5Ppx7ywru0wb7Htn/qK/wCUg/fF/KdJpK8AvZrKq1OBkeIrggH0zhfwECte67pd2o6hVQjbE3V33Bh9quhlsHHnycY/rT05hCxJ9/8AWVl0rQJp+0+rFYAT8wQoB6ADT1Y/6DJb1HXbR58k4/gY9mdIl3xaut9DYqVK3htXiwqCayzqDtY/ZJHHHpKe6JpCLWS1WA212bM4BztetmX1BVgfvlo9r18ejQaEcHU3qbPcVope1vqN2fumt67pEOr6w4Ufq6tGV4+z8K+XsNqkfSZ89l1+vEm6P2xejTKTzhR/G3b/AJyoO8XU13a66+skG0qzKcnDFRkg/u8fdnHlJLZqv5MR/wAtP++sgvW+bnb3CkfPgCdOXp/s52x0ti1VVjYAihV9lVeF+4CRXv6tK6eixduw16iv4iv2rTQF2gnJbaLPLy5MrzpGrIuVgfIWH/23k/7b6oX9A1O4BigpYZ52nfWNw9jhj+JiYEQ/J/qsfqBYAFKUsZjzuBtAXz9iVHHnxLq7wEJ6XrxWCWOntGByTlDnA+kiPdRQtb9VZAAp1nhgDgDwU5UfIF5Oq9Z8TfIiYKR7tO0VTfoXR1hzfTq73f4Rt8Oyu0Ehs8kKw9PQy4O8DTh+napME71VSB5kM6Ayre6HQrT1jqwCACk2Vr/RHj4Cj5YX+Et5Nd8bD2xApH8nmlbNdczlt9VJK4PBDEIVbjJAyCBnGecZAlh989yV9P3EkDNqqQpbD2UW1gHA+HIdlyeOZpu7TR106q0VADwqtTS2MZ+HqFuzPz2D8BNp3iWfnHSdTUqs72Gta1QZY2ePXtx/n8swJV2D05TpugVgQy6akEHzB8MZBkgmq0GpBdVHljgewA8ptYCIiBFNcLf0qfAZA35gceIhcE+PwPhZSPrzMDo+tWjRaEaXxD+fXF3ZtjWI14uvsyDhA29GrHoMepHMv/RtPi+N4S+LjHiY+LGc7d3njPOJwTo+nCNWKKwjsXZQgALlt2/Hvu5z78wNLb1XUJ4NTja12rNAsOxmFXgtcHZVJRbDt2D05Bxzictfq9TUNODcjM+rNJ2qMeE/iFC/HFqqFJxgEg8c8bx+nVGvwzUhTOdpUEbgchv62ec+eeZws6RQwRWpQis7kBUfCx5Lj2bk8+fJgalNRqK9To6Lrw/i06g2Fa1QF6jXsdRyQdrnIyQceQmvq65edDp7xaCza2ugnauLKm1w0+TgcHZzkY5kq1egqt2eLUj7DuXeoba2CNy58jgkfQmdLdF05XYaK9u82bdox4hbd4mPLdu+LPvzA0fTy/6W127UWbFq0e1D4e39YdSNg+DOMjPnnJ5JGAOjU9Y1C6HU2rYPEp1b1KSi4ZF1AqCuoA/ZPJGDkfdJSen1eJ4vhJ4gULv2jdtGcLu88Dc2P6ze5nQeh6bY1fgV7Hbey7RhnzneR5Fs8594Glu6nqareo1CxbDTpqr6TaBWBZb+cL4TFMZTdSuPX4jknzmV0ezUveSzWeAtVZzbUtTNc28WV7doIVQKyD7swy37Odq+iUut2EVXurNTWBQWKYICnP2gMng+5mJ0PszVprPEqVE+AoVqDIrZKnc4Z23MNvB8xubzzwG9iIgIiICcWrB8wD9RmcogdNmmUgjaBkY4A4+k1l3ZqlrKrWLl6t2z4uFLrtZtn2d20kZxnBM3MQI//wDylKF2pBD2Or2OzFmcqCF3O2WIAOAM4A4AEwdR2NNmqbU2W5J07aYIPhC1uxaxs+Zc5xnjA9D5yXRAhPSOyL6PQ1aauwWCstg7SpIax7MkZPPxY/08p97T9It1Oj1NArJNtTqueBvxlMk+XxBZNYgQvsx0azS6TT6fYc1VqrFVwC3m5H9onn1852dPsYJ8QIOfUfISYT5tHtArTp2it/S2s1VmnCp4FVNVmcl8EM5xj5AH22gc8zfX3nfXwfte30kt2j2nXbp1b7SgwKh76lL9Pq2H9YuqqNagZZ2K2LsVf2jkg4+Uinbix06ol5Xa19NW8e1nhiuxD8xhZ6EOgq/cEojvG6sF1hVK6CF/forsIP1ZSYGf0/XYRef5sf8AeaO0V3iWdKHoNdWx/sjP+s02k6rVYi+IxRgNpFWnqAOHZhhgykDkcY8xJHo9Jpytd7W2k0ljXldoDMNpbYLME44595uMlya8/p93Hk3Txz/6wH+KyQm4EqGwcsPMZx85hN0CrxK9RvfxVQ15AxlT8Wxl34IyxPPrOG9FOd7EqQdrVL5jyGSxx9RJzK9azjX9PTdrbb3U4orWqongF7ctYQCOfh2DI+f3Ymo0wN/Ui4cC9KayfQqKsEoceYLfPmbfS9YVSQ9dZGcjFajB8uQBO7XdYqddq1V7mIAGxWHLAknI9gZObRi0cco5q+zVLo9dSsp8NdrAs/IsRhnOcjPnKy6p064naaLdysQSK2IHoecc+U9CuuFwFCceaqFP8JQWt6rc9lj+PaN7s2Ba4A3MTgDdK8czZDlr8WX02i42ACqzJWwDKFRk1uAMsABzgcy2OndB1FvTb6PCy1yKmGOAM7MtkZ5UAsPmBKd0GrvaxV8e7kj+df8A+09Q9kdNs0tYPnjJz6k+plJRhG+yPRrtPQ62VMLLNRqLbDwdzWWtts+E+tYr49MTdaTplhZyTjOOGBH/AOyRxOWof0nsV4Go1eoS3LatlZwQAFKbsbdoH7/JOSSM+Zm3o6J8TM7HJA+yfb6ibmIGg0PZDTU2XW1Ky2XndYwYncSSxO08Dkk8Ack+822l0SIu0DPn5gev3TJiBwWpR5KB9BOcRAREQEREBERAREQEREBERAREQEREBERAREQEREBERAREQEREDp1j7a2PsDPKfa3WbtZc2f2jPS/bLW+FpLW/omeT7dVm82EZw4bB9cNnb9+MTYE76H2G1VtS2uyUhhlVcMWIPkSB9nPz5+U3/TOgahXSu0p4SEMzK2d2OQu0jPP0x5zedP7UU3Vh0YEH58gn9lh6H5THt6qN+Qf2T/lITy2e2Px6YkIcZIPyP4j/AMSNdXfccgcj+I9RMunWblzMW9ePuk9UmsNNY/3/AO/SZ3RtIz2AqM4Ix8yfL+E19iYI+uP4TY9J6s1GdoBGdw+R9/mJrIb7reoZfEBAzgDI8jngHHpzKn7ddKWm1HXA8YMWA/eXGWx893PzHzlgX9UOoIGwqMgs3uRnCj8T/CQbvC1Ie+utTnwlIOP3nwcfgo/GU4/76R5o8O2q7K0FtVVhSRuE9VaBcVoPkJAO6js1WmmW10G88gkSxwJaZeSCIiY0iIgIiICIiAiIgIiICIiAiIgIiICIiAiIgIiICIiAiIgIiICIiAiIgIiIFed8/UfD0RXPLTzWh5Mt/v66oTYlQPlKeq85sDJ0+oatt1bFT7g4+4+83HS+1lqEiwC0E+ZO1h8gQMEfdNA8+oImIlsWmPqVmdL7UUvgK+1ifsv8JyfQeh9uCZsrOpj1dR9SBKiLexwfccYPvN/W41NZOPjHDjz59H+h/hzJ2pEKxyym73A4wQec+c5M+OT5SrEvspba2cenOfwmS/VMjkzj4O45FsdD6olqWpVg+DyxxxkglcH9r7J5lfdjqTq9bWrnLWksx92B5P8AjJNpM6Dpltj/APEtG7BGNrWKFSsj3Hr88zW9xukNnVKeOK0uc/JdoXP95llaxkI3vNpekum6QVVIijhQJlRE1wREQEREBERAREQEREBERAREQEREBERAREQEREBERAREQEREBERAREQEREBPjHAiIHmLvk12/WsAMYkBp84iaO4z6TETR1MZ2aPVtU4dDgj8CPVSPUGfYgS7qWlrv0yagLt8QNx6goSpGfUZHB/wnX2F7Nq5bU3HKUuQqDzLqAwLf0Rkcep8+PP5EnH3jZa3tj2jbV27Rla0JAU+p8ixx6y2vyc+lgU6rVZ5d1pA9lrG4k/Mlx+E+RO2LliImBERAREQEREBERAREQEREBERAREQEREBERAREQERED//2Q=="/>
          <p:cNvSpPr>
            <a:spLocks noChangeAspect="1" noChangeArrowheads="1"/>
          </p:cNvSpPr>
          <p:nvPr/>
        </p:nvSpPr>
        <p:spPr bwMode="auto">
          <a:xfrm>
            <a:off x="0" y="0"/>
            <a:ext cx="666750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3" name="AutoShape 12" descr="data:image/jpeg;base64,/9j/4AAQSkZJRgABAQAAAQABAAD/2wCEAAkGBxASDxAQEBAPDxAVFRAVFQ8QEBAPDxAVFRcWFhUVFRUYHSggGBolHRUVIjEhJSkrLi4uFx8zODMsNygtLisBCgoKDg0OGxAQGi4mHR0rNysrLS0rLi0tKystLy0tKy0uLS0tLS0tLS0tLS4rLS0tLS0tLS0tLSstLS0tLS0tK//AABEIALYBFQMBIgACEQEDEQH/xAAcAAABBAMBAAAAAAAAAAAAAAAAAQQFBgIHCAP/xABLEAABAwIDAwUKCwYEBwEAAAABAAIDBBEFEiEGMUETUWFxkQcVIjJUgZOhsdIUFiVCUlNikrLR8CM1cnN0wTOjs+EIFyQ0Y4PCgv/EABoBAQADAQEBAAAAAAAAAAAAAAABBAUDAgb/xAAtEQACAQIEBQQBBAMAAAAAAAAAAQIDEQQSEzEUIUFRYTNSgZEyBSNCcRUi8P/aAAwDAQACEQMRAD8AkEWWVkWW0ZoiRZWQgEsiyyshAY2RZZJ1Fhk7gC2J5B42t7VEpKO7JSb2GdkWT7vRUfUv9SO9NR9U/wBS8a0Pcvs9ac+zGKE+701H1T+wJO9VR9U/sTWh7l9jTn2YyQnvemo+qf2I71VH1T+xNWHuX2NOfZjKyLJ73qqPqn9iO9VR9TJ2Jqw7r7GSXZjKyLJ73rqPqpOxIcKqPqX9iasO6+xkl2Yzsiyed66j6mT7qO9dR9TJ2Jqw7r7GSXZjOyLJ53rn+qf2JO9k/wBU/sTVh7l9jJLsxpZFk771z/VP7Ed7J/qn9iasPcvsac+zGlkie965/qpOxI7DJwCTFJYb/BKnVh3X2MkuwzsiyyRZezwY2RZZWRZAY2RZZWRZAY2SWWVkWQCWSLKyVAZWRZKhQBLIslSoDGyLJUqAd4NCHTsBAI1Nj0C49dlcNVUcD/7hnU/2K2M159/OsP8AUG3Vt4NXBL9u/kzs5LqVoSs20xpskjW11gHvAHI05sASB8xeJ25xvy0egp/cXDQkdtZHQVikN1z98fMb8uB/9FP7iPj7jfljfQU/upw7I1kdBC/6KCD0rn34/Y35a30FP7qUbf435W30FP7qnh5DWR0Fr0+pGv6K58+P+N+Vt9BT+6lG3+OeVt9BT+6mgxrI6CuUa/ornz4/Y55Y30FP7qPj9jnljfQU/upoSGsjoMX/AEUpv+iuext9jnljfQU/upfj/jnljfQU/upoMjWR0HdGvMufRt/jnlbPQQe6j4/455W30FP7qaEidZHQOvMe1L+t65++P+OeVs9BT+6g7e455Y30FP7qaEhrI6BueY9qCTzHtXPcm3+OAE/DBpzQU3ureGzFZJNQ0k8rs0ksML3EAAZnMBNgN2pK8SpuO56jNMidpqRrJGvaLZwbjhmFrnz3UPZWHaokiLrf/ZQFluYSTdFXMrEpKo7GNkWWVkWVk4GNkWWVkIDGyLJUIDGyVKhAZWRZKhAJZCVCARCVFlAHuBj/AKhn/wCvwlWyL81VcCH/AFDep3sVriWJj/W+DWwfpfJzji2lROOaWUdjymLnJ9j+lXUj/wA0/wCNyjHOXRbHN7mZKTOpvYvAo66pNK6Z0EjmExEMD2vc2xLXai3g5rdK99ldk/hk9ZEZhE2COR3LaZM+bLGHX4E30uDopIK4XpQ9War2OdDjDMOle4xE5+WADS6BsbpHv45SAyRvWLqP2qwVtJNDC1z3vfEyV0b2ZZI+Uc7k2OH08uUkWFiUBFhyXMsJ4JI7cpHJHfdyjHsv1ZhrwXnnQHvmQHLwDtL62va/C+8i/PqO1Zva4WBDmkgEBwLbgi4IvwI4oD1zIuvLMnFTRzRgOlhmiadA6WKSNrjvsC4AHRAY3S3WEzHMOV7XRu08F7Sx2u7QrOlj5R7Iw5oL3NYC42aC4gAuPAaoBbpLp3jGFT0sphqIzFJYOykg5mm4DgQbEGxTG6AJfFd1FdCbEn5Lw/8Apqf8DVzy/ceoroXYX91Yf/TU/wCBq4V9kdqW5htQNI+t3sUArDtP4sfWfYq+tLBeiv8AupRxfqsRCVFlbKwiEqEAiEqFIEQlQgFQhCgAhCEAISoQD/Af8cdTlaYd6q2Bf446nexWqL8liY/1vg1cH6Xyc5bT6VtX/PqP9RyiHKZ2tFq+s/qJ/wAblCvXSOx4e5J7LV3IV1JMXBgZLGS518oF7Em2trErZe3lPBQU1ZPTua011TTvjDLAciyNrnAAHcXPceH+IAtOlTON7SzVNNS08lssANnalziQG3J6hfrJQg3JgLYqpseKSsa17IZIHAeEAMwfdwaSTfJe97ZZTdU3ue10c9Zi2M1PKZ4YpJmNAaXMD2yEFuY2ztZHlF9NSqfQ7VzxUE9AwM5OUuLnkXks5rWFoJ3DKCNLb042C2q73zSufFy9PMzk5ohlDntAdaxOnzjccUBP0W1eE8jU09Q/GaiKcOJNX8FmMUu8Sxlrrsdfm00F1r99sxykltzYkWJF9CRwNlYO/tJBFKyhpHNkkcD8IrTDUyQMF7NhaGWadfGJcdBv3itgKQbgjw9uLbP0jIo2iqgdDAXAhuQGSOOSXKN5LGhxuN1+KmMf2ObXVmHS0745aOnL6eojaQ0xugc4uA57uGUjS2lt9xrDYnbSbDTKYo2SiQC7Xuc2xAIBFtOI3jgs9ntt6ikoq6mYS59ScwlJvybntLZn6/OIy26dTzGASMWJVVVPXy0FNnnc/wD78FjHU1M3wWZXOs2N7g27pCb23WtcOMAjmZhuNmWeCqY6nis1tZFWBr3Pc0yODXnKRcG/GygcD2ljioKnDp4ZHwTPbJykEgimY5oaACCCHtu0Gxtu4rKh2kp4KatpoaNw+Ew8kZpakyykhwLSQGtYALv0Db3I1QF87qeISxwUFXTkQvlaY5Jmxs5d7WtDorS2uGWLzYcXdCabbtidhuEYrLCyaoeYjMAeR5cOic8NJbrYOaN24XHFUrGtp31NHS0jo8racuIkMhcX3aG2LbaWtpr604rdrTLhtNQPi1p5InMmDgPAY1zMmW3MRrfnQFq7qOL0gmbE6ha+p+CwDl3TSfscwLmtDR49s289K1oFYduNpYq+oM8dL8HJygvMjnyPDQQAQLNaNeAJ0GqrgUgyduPUV0HsH+6sP/poPwBc9nceoroPYI/JOH/08P4QuFfZHajuLtN4rOs+xQKn9pfFZ1n2KCWjgfRRRxfqsRIskitlYRCVCkCJEqEAISoQBZCySKCQshKhAIhKhAPcE/x29T/YVaYz/ZVfB2ETRmxAOcA20Nmm9lZ2b1i4/wBVf0amD9N/2c87ZD5Rrf6if8ZUE9T+24tiVb/Ok9qr7yvcdkeJbmJSWSpXtI3gjQGxFjY6g9S9EHmQhKUl0AqEl17UtNJK7LFHJK/6ETHyO5r5WglAeV0t1nUU8kbsssckTvoyMfG77rgCvO6AySgrEg2BtprrbQ23pQgMrpxRUU0zssMUszt5bFG+Qgc5DQbDpXjNA9hyyMfG7XwXscx2m/Qi62R3BavJX1EZ3SQ3vlJF43X38NHO67KAUPFsNlppXQzNyyNDSQDceELjXjv3jRNAVZ+6bJmxSc2IForZvGIyAgm3X2WVWupB6X0K6D2A/dOH/wBPF7Fz2DoV0F3Pj8kYf/IjVevsjtR3PbaTxWfxH2KCU/tE0ljLAnwju14KAC0cC/2UUsX6jBJZZIVwrGKLJUWQGKFkhAYoSpUAISoQCJUIQAkebAnmBKVNsTfaGQ3scpA6zovMnaLZ6hHNJLuWTAZWywwvPjtzWtwBuLetTLfzVL2MqRZjSQCTYc50J9gV0avnJycnzPoZwjH8Uc+7fD5Trf5p9YBVaJVn7oY+VKz+MfhaquVeh+KM6W4t1sPFtlWVWD0+JUYu+OJwniDnuLRFfO1rbcCHHhv+de610tp9w/Hf2k+GyO8CUGWFp3co23KMvwDmgafZdzqTyaqJW49iNnqaDC5MQqgcghebPijezwm2e6zgS6xsB/DzKp4bsDJLjMlC0OEEd5Q92YfsD4UIcbEg7mnTe1wV57tuJxU1BFh0LWsdO/M5rG5WtjjIe4gDQFzyzTmJQFC7mmzEddUF07HvhZryLHtYXuJFmveSCG6ndqbHdxsW0XdGbRSSUWEU9PBHG8tfPkaQ5zTZ7Y2t4XHjOJJsdOKc9zyJwwmq5DwXCCR7pGlzZuUDTIxoLQBl0As431JGmh0+3cOoIDYeG7UUOISxw4xSjM5xDa+GeaN0ZduDmkmzd24kXtcJrtpsnJg9XT1EbvhFIZI5IZX5Td0ZD+SksLG9t43i+mipdLGXSMY25LnMaLb7kgC3Tqt592OcClw+hcGky1FODI9pDI2jwdeG42I5roSQHdVc6TBcFnkjLJDbMHG8gLobkONhqS0E7ty1lhtG6eeGBty6WRjAALnwiBoty/8AEC0mhoHWAAnIIBuATE6wB8xWuu5fQyTYvR5Bfk3iV3MGs1dc8N+nTZAbY7sNKyPAmxl13MfTNYX2dI4ggEBx1vludOAWv+4lLbGGD6UM432+i7dx8VWb/iFL7YeLO5K9Rc2GTPZmUX33tn05r8yrvcMpy7FS/WzIZToXDV1gLgHUb94IvZAMu6422MVAtYZYLcSRybdSeOt+xU0q3d1iW+MVQy5cnJttmLvm5rk245721sqghB6s3FdAdzs/JGH/AMlvtK5/Yt/9zj90UH8lvtK4V9kdqW4+xqbK6Hwyw5vGG/QKKxaJrZTlsGus4AaAX5uhLt3LkbTu/wDLbzFjj/ZEwzwMkGttCeg7v10r1gauWrlfU7YyipYdTW6YyQhKtowxEIQgBCEKQIhKhCQSoQoAIQhACbVUYe4MO4C5HTuH66V7yPABJ4LMsY8skGeMlrQ4PFhcWG7fwVHHVssMq6l/AUc883RDOiYGVVAxoA/aPc7TWwje0etwV/b/AGVEo4z3wBcQcnJNFtwzvF/wq9t/JZMo5Un3NKcrya7GgO6OflWsH22/gYqsVa+6Qz5WrP4o/wDTYqu5quw/FFCe7PIr2oaySCaKeI5ZInsex3AOabi/ODuI4gleZap3YvZ6Ovq20r6kUrnAlhMfKcoRclg8IWdYEi++xXs8HROyOKU1ZBFXQtY2SZgbIBYvY5pcXRuPGznPt134rQndVxkVWLVDmHNHFaFhFrfs9HkEb/DzLYe0WKUGBUDqKgLJayTM1xMgdK0uGV002XcRazW6a7tAVo9rdLKESbQ7kW2FPA00dU8xtc8ljnuHIEEWLX3By68dL6cyz2r7kUxlfNhboZ6d5zCDlGsfFmucrD4rmDhqDbTW11q2ycQV87AWxz1EbT82OaRjTw3A23FCC2YLs6zD6pk+LSQwiI52UjXioqJ3jVgLY7iNt7HM62oHWPLafbRtXiFNVNiMUcD4zdwZJPIGua4l9rAmw0HC551UBxPEm5PE85QQgOntosFpMYw5sbZWmN2WSGpiyvEb2ggOtxFiQW6GxI0Oo1tQUtNs62rnlqoKyvezk6aCBuZzG6kvkGa7Wkhl9dMumYkLVrJHAWDnAHUgOIBO65A42WDWAaAW6tEB0r3Q8H744Q4wnww1k8Y8Cz8ozZSTe1xcXBGvG11pbub4HUVlTJHTVhoXCPO6ZufOW5gLNDXNO8i/hBQ02N1b4GUzqib4OwANgDssVhfe1ts2877plE9zdWuc07rtJabc1x1ICS2phLK2oYamSsyvy/CZQ4Ply6E+ESbAgga7gotKiyAyYugO5n+56H+V/wDTloBoW/e5h+56H+WfxuXGtsjtS3PHujQZqZjhvZI1/msQfUU42PqGSU4j0NhYjnBTvaZgMbQRcEkEc4IN1WNh6OobUSNa1/JscRm0AI3t1O/QjcuTptQjUXexcpVFLNSl05ok8QonRPynxTfK76Q/NNlcK+iMrCxwsRq13AH8lUHtIJaRYg2I5lsYatqR57oxsRR05ctmIhCFYK4IQhAIhKhACEqEAiF6QQl7g1u8+rpUtDhDRqbvPQLNXGrXhT3O1KjKpsQzacvNgDpY6G3VqpLD8J1zSPv0DU9pWU1QWvDGxuP8LDYdiZubXOJDIiBc2Li1g9ZWNWq6k81jcw9J04ZU7FihwGm8djS15c15dmcSSLWvfhonzo7FV2lqaynGeob+zuBnBa9o/itqOtWKlq2SNu0+ZeG8/LqjzKm4u65pmhe6Uz5Wq+uL/SjVXcxdBYzsZQzzOnmhc6R+W5EsrQcrQ0aBwA0ATH/l/hfkx9PUe+uirKKsyu6LbujRHJrOBz2Pa+Nzo3tN2vY4se084cNQVvT/AJf4Z5N/n1Hvo+IOGeS/51R769cRE86EjRDmEkk3JJJJNySTqSTxJ50nJLfI2DwzyT/OqPfWQ2CwvyUemqPfTiIjQkaD5JLyS358Q8L8kHpaj30vxDwvyQemqPfTiIkaEjQXJJeSW/PiJhfkg9NP76DsLhfkjfSz+8nERGhI0HySOSW/PiLhnkjfSz++shsPhfkbfST+8nERGhI0FyaOTW/fiRhfkbfSz+8l+JOF+Rt9LN7ycREaEjQfJpeSW/PiThfkbfSTe8lGxWF+Rt9JL7ya8RoyNBli3t3Mf3PRfwO/1Hr3+JWF+Rt9JN7yd5qejgZDEwRsF2xszOda5LjqSTxK51KqkuR1p0mmPKumZLla4mwN7DjonBdHAwWAHAAc/BNmPAjLzwBJ46DVNIiZCJHaD5o10HOQeKjM1FRO6pxvmJbl5tDkBB+0LheNXRRTDw2FrvpiwPaN68RjkbBlLgerX1JzHicZ4+oqY1Mr5PmeZ0nJc48iGn2bkGrHtcOZ12n8lETwuY4te0tcOBV6ika7xb+ZRW01KXRB9rlh38cp3+bcVoUMVJySl1M6thkk3HoVZCVFloFERCWyEAqEIUEjjC7mawNgG3J6z/srIySwtf8AsqbgcznSvI3OI7BuV4poxls4B3WLhYteeeo2jZowUKauRs1e1rrFwCH4kwDxh2pzV4NTSG7o7noe9vsKwbs9SHfH/mSe8q7UiynDyetHisUrTH4Lr3BadQQeBCgq2F9E8ObmfTucACNXRE7g4n5vMekDrlZ9mqcNLqe8M2hDs73NJG4OBJ06k0psQ5QSU1S3K62VzT07iD6wUd9pHqDjzcNuqHzsVbyRe4GzWlzsoLnWaLkgDU7lDnbOg+nMOuCcf/KxwSr5OV9NI4crGbW4yMIu1w6wmWJU4kkdyrWkNc4BrRYEA6F3Oej2rpToOs+RyrzhRXP4J6mxumkaHse7KdxLHtv2henfOH6Tuxyr4HNoiyvr9PpdbmZxlTpYsHfOH6buxyO+kP0nfdcq/ZFk/wAfS8jjKngsHfWH6TvuuR31h53fdcq/ZFlPAUvJHGVPBP8AfeHnd2FHfiL7fYfzUBZFk4Cl5HGVPBP9+Yvt9h/NL35h+190/mq/ZCcBS8jjKngsHfmL7X3f90HGYud/3Qq/ZFk4Cl5HGVPBYO/MX2/uhYvxqEAm0htrYMBJ6hfVQNkAJwFLyOMqeAl7o1CCQG1TiN4EAuO0plSY1DX1Dn5JmxxNAa2QBhzHUusD0IrsKhluXsAd9Y3wX9vHzqIFFLRCaVgNS0tOUDR7TYgF44gaG46dFVng5Qd1zRcpYuEt+TLY6vIiZGDcuAzdDeP5J5T5pbtOZkY0J1aXdA/Na82exSSIvM7s0rixreZtxfTmsLq3YltDFTxZiSAANwJ14DRVWnfmaEn7S50U8TGhgDW23AWCeMqGHcR2rnXaLa2eZ4dEXMa0gg6i/wDsvGg22q8waZchvoTqD/uvackjg6UX1OlQeZedS0OY4HXQgjnHFa72R2jkkADn5jx4uPWdzQr5FI4gHXrsbKVO5znRy9SlTxFj3MPA2/IrBTG0VLYtkHHwT/b9dSh1tUp54JmPVhkk0CEIXQ5gvCtfZhHF3g9u/wBScJo85pOhunn4/roXCvUyQZ2owzTQ6w2msW+ZWo1oDdSAAFB0dhxXpW1QynLFJIejK0DpuTosVuxtRSY5rdqKaNpJLi617AXv1c6qOI902MEhgJtwsQqztHiErpCxreTvvsdeO+2/coFtDbgm+57/ANVsi74F3SnSTFspDG3sBu051bdp6qP4M2taRmjynMPnxucA5p6r383SVpH4FrntccRa+7itgbGxl0Ds2sZ8EMOrTprp+t66U6TnLKjzUqqnHP2LNDIyeMVDD4RaL2Othe2vOLntWBTfD6JkAc2IFrHX8C5LW3+jfcnK1MPTlCNpGRiqkak80REJULuVhEJUiAEJUikAhCEAIQhACEIQAhCEALwr4y6KRrfGLSAvdChq/IJ2dyh41hhhc2R8ly4EhlrBh8EG5vqd4TDFK90kfJdW/nO723WyHwtJDiASL2v07/YoTajBRKwzRj9uwX0GsjQPFPOebsVCrhHzcTSpY7aMuvUpbMMB06FE4thRaLgKw0dQCSOgJ3Wwhzfu+1UUXL3IXAHvaWuEkjbWvlcR51uDZare5otOZB9p73nsK1RgkbQ4MJy2Jbm4tsbArYeBjkyA6IHmmia1wcOnLr515lvc9p3Vi71cQkjc02uR6+B7VUC0gkHQi4IVqpprgWcT13/uoXG4MsuYbni/n3H9dK0MFU5uJmYuHLMR6VCFolAxnkytLuzr4KJhlI04qQrBew4e0qv18hY/Q7ll4upeWXsaWFp2jm7ljgcT41x1O/2TyIB1w3cN7y4vsOu9h1D1KqU2Ig+MC7oN7dg3+dTMNU94y+KACQwWaGgDxiBoFQ6l9bFfxKBplkcNwfYdQ0TCphAt5wverqw1pB3kA9pUphOEOeRLO0huhbGd56XDm6F2pU5TdkcatVQXMy2Vwrk2mZ4s5ws1pG5p4+f2dam4IWsaGsAa0bgF6FC2KdNQVkZM6kpu7BCEL2eAQhCAEISoBEJbJEAIQhACEIQAhCEAJEqEIEQlQpAiAhCAp21GAuY51TCPBNzIwfNP0gObn5vZHU9UHNA6vUthqoY/sw4EzUg5y6Ee1nu9nMqGIw/8ol2hiP4yK+WHO5zdNA7zHf7FaNn8WtaOZoLDqHXNusOG5Uulqzms7QgZdR+uIU7hVZkcCHWHFt/BPSDwWfJcjRizaeGWNix+ZvM7wj5jdP8AGKIvhuNXM1HORxH65lW8GxRj7Brnk/RJBt90f3V0o3aC5upozyyuuh4rU80bMpAQpfG8LLJM0bSWuubAXyniOrVC2o1YSV7mPKlJO1iNrKf5oNrbiq3izPCs61+cbvWlQsGTbdzdglYYNhy65neYAetPK8uYxsLCBJNZuYk5Rm5zvOn60Qhe4K7SZ4qO0bokMMwGKIh7v2sunhu3N/hbw696lUIW5GCirIxZScndghCF6PIIQhQAQhCkAhCFABCEIAQhCkAhCEAIQhAJZFkqEAiEIQAhCEAIQhCCE2h2diqGukADJgCRIBo6w3P5+vetdRHKRfUc2tkqFn4yCTTXUv4STaa7G0dlsphaQxrB9nj28VfsPb4IQhUIbmhN8h9ZCELocD//2Q=="/>
          <p:cNvSpPr>
            <a:spLocks noChangeAspect="1" noChangeArrowheads="1"/>
          </p:cNvSpPr>
          <p:nvPr/>
        </p:nvSpPr>
        <p:spPr bwMode="auto">
          <a:xfrm>
            <a:off x="0" y="0"/>
            <a:ext cx="5686425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731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212" y="247855"/>
            <a:ext cx="7866379" cy="575228"/>
          </a:xfrm>
        </p:spPr>
        <p:txBody>
          <a:bodyPr/>
          <a:lstStyle/>
          <a:p>
            <a:r>
              <a:rPr lang="en-US" sz="2800" dirty="0" smtClean="0"/>
              <a:t>PS - Our offerings – How we work </a:t>
            </a:r>
            <a:endParaRPr lang="en-US" sz="28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98469347"/>
              </p:ext>
            </p:extLst>
          </p:nvPr>
        </p:nvGraphicFramePr>
        <p:xfrm>
          <a:off x="685800" y="957117"/>
          <a:ext cx="7772399" cy="3510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279AF0B-2D84-CD41-8CAF-017061CB9833}" type="slidenum">
              <a:rPr lang="nb-NO" smtClean="0"/>
              <a:pPr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1733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S - Service offerings - Performance Excellence </a:t>
            </a:r>
            <a:endParaRPr lang="en-US" sz="2800" dirty="0"/>
          </a:p>
        </p:txBody>
      </p:sp>
      <p:graphicFrame>
        <p:nvGraphicFramePr>
          <p:cNvPr id="4" name="Platshållare för innehåll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770570"/>
              </p:ext>
            </p:extLst>
          </p:nvPr>
        </p:nvGraphicFramePr>
        <p:xfrm>
          <a:off x="1828800" y="971550"/>
          <a:ext cx="6354763" cy="349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Ellips 4"/>
          <p:cNvSpPr/>
          <p:nvPr/>
        </p:nvSpPr>
        <p:spPr>
          <a:xfrm>
            <a:off x="152400" y="1428750"/>
            <a:ext cx="1548161" cy="1404000"/>
          </a:xfrm>
          <a:prstGeom prst="ellipse">
            <a:avLst/>
          </a:prstGeom>
          <a:blipFill rotWithShape="1">
            <a:blip r:embed="rId8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tint val="5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685652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S – Load testing in Continuous Integration </a:t>
            </a:r>
            <a:endParaRPr lang="en-US" sz="2800" dirty="0"/>
          </a:p>
        </p:txBody>
      </p:sp>
      <p:graphicFrame>
        <p:nvGraphicFramePr>
          <p:cNvPr id="5" name="Platshållare för innehåll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0076089"/>
              </p:ext>
            </p:extLst>
          </p:nvPr>
        </p:nvGraphicFramePr>
        <p:xfrm>
          <a:off x="206290" y="934480"/>
          <a:ext cx="7978066" cy="349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6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59" y="3158989"/>
            <a:ext cx="1189485" cy="685800"/>
          </a:xfrm>
          <a:prstGeom prst="rect">
            <a:avLst/>
          </a:prstGeom>
        </p:spPr>
      </p:pic>
      <p:pic>
        <p:nvPicPr>
          <p:cNvPr id="6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0600" y="2114550"/>
            <a:ext cx="786174" cy="838200"/>
          </a:xfrm>
          <a:prstGeom prst="rect">
            <a:avLst/>
          </a:prstGeom>
        </p:spPr>
      </p:pic>
      <p:sp>
        <p:nvSpPr>
          <p:cNvPr id="3" name="AutoShape 2" descr="ildresultat för devOps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2" name="Picture 4" descr="http://labs.sogeti.com/wp-content/uploads/2014/11/2000px-Devops.svg_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80" y="1139174"/>
            <a:ext cx="811864" cy="770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528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S – Environment management in SDLC  </a:t>
            </a:r>
            <a:endParaRPr lang="en-US" sz="2800" dirty="0"/>
          </a:p>
        </p:txBody>
      </p:sp>
      <p:graphicFrame>
        <p:nvGraphicFramePr>
          <p:cNvPr id="5" name="Platshållare för innehåll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4471240"/>
              </p:ext>
            </p:extLst>
          </p:nvPr>
        </p:nvGraphicFramePr>
        <p:xfrm>
          <a:off x="317500" y="971550"/>
          <a:ext cx="7866856" cy="349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074" name="Picture 2" descr="http://npmawesome.com/wp-content/uploads/2015/01/continuous-delivery-deployment-sm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362" y="1759328"/>
            <a:ext cx="1257142" cy="755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362" y="2716780"/>
            <a:ext cx="1235426" cy="8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899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S – APM Managed Services   </a:t>
            </a:r>
            <a:endParaRPr lang="en-US" sz="2800" dirty="0"/>
          </a:p>
        </p:txBody>
      </p:sp>
      <p:graphicFrame>
        <p:nvGraphicFramePr>
          <p:cNvPr id="5" name="Platshållare för innehåll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9313964"/>
              </p:ext>
            </p:extLst>
          </p:nvPr>
        </p:nvGraphicFramePr>
        <p:xfrm>
          <a:off x="317500" y="813354"/>
          <a:ext cx="8140700" cy="36538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2964" y="1733550"/>
            <a:ext cx="1223551" cy="761510"/>
          </a:xfrm>
          <a:prstGeom prst="rect">
            <a:avLst/>
          </a:prstGeom>
        </p:spPr>
      </p:pic>
      <p:pic>
        <p:nvPicPr>
          <p:cNvPr id="4098" name="Picture 2" descr="http://www.anywaytech.com/blog/wp-content/uploads/2015/08/Managed-Services-Provide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46" y="3105150"/>
            <a:ext cx="1360169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40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6352912" y="2676394"/>
            <a:ext cx="988350" cy="9883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Proxima Nova" charset="0"/>
                <a:ea typeface="Proxima Nova" charset="0"/>
                <a:cs typeface="Proxima Nova" charset="0"/>
              </a:rPr>
              <a:t>CORE TEAM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763941" y="3928707"/>
            <a:ext cx="1516856" cy="353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ea typeface="Proxima Nova" charset="0"/>
                <a:cs typeface="Proxima Nova" charset="0"/>
              </a:rPr>
              <a:t>Performance Delivery Team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5537201" y="971550"/>
            <a:ext cx="2654300" cy="726473"/>
            <a:chOff x="6432550" y="971550"/>
            <a:chExt cx="1745457" cy="726473"/>
          </a:xfrm>
        </p:grpSpPr>
        <p:sp>
          <p:nvSpPr>
            <p:cNvPr id="3" name="Rectangle 2"/>
            <p:cNvSpPr/>
            <p:nvPr/>
          </p:nvSpPr>
          <p:spPr>
            <a:xfrm>
              <a:off x="6432550" y="971550"/>
              <a:ext cx="1745457" cy="7264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2" rtlCol="0" anchor="t"/>
            <a:lstStyle/>
            <a:p>
              <a:r>
                <a:rPr lang="en-US" sz="1000" dirty="0">
                  <a:solidFill>
                    <a:schemeClr val="tx1"/>
                  </a:solidFill>
                  <a:ea typeface="Proxima Nova" charset="0"/>
                  <a:cs typeface="Proxima Nova" charset="0"/>
                </a:rPr>
                <a:t>TEST STRATEGY:</a:t>
              </a:r>
            </a:p>
            <a:p>
              <a:pPr marL="171450" indent="-114300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/>
                  </a:solidFill>
                  <a:ea typeface="Proxima Nova" charset="0"/>
                  <a:cs typeface="Proxima Nova" charset="0"/>
                </a:rPr>
                <a:t>Core Team</a:t>
              </a:r>
            </a:p>
            <a:p>
              <a:pPr marL="171450" indent="-114300">
                <a:spcBef>
                  <a:spcPts val="200"/>
                </a:spcBef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/>
                  </a:solidFill>
                  <a:ea typeface="Proxima Nova" charset="0"/>
                  <a:cs typeface="Proxima Nova" charset="0"/>
                </a:rPr>
                <a:t>Toolset</a:t>
              </a:r>
            </a:p>
            <a:p>
              <a:pPr marL="171450" indent="-114300">
                <a:spcBef>
                  <a:spcPts val="200"/>
                </a:spcBef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/>
                  </a:solidFill>
                  <a:ea typeface="Proxima Nova" charset="0"/>
                  <a:cs typeface="Proxima Nova" charset="0"/>
                </a:rPr>
                <a:t>Processes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7223125" y="1118321"/>
              <a:ext cx="954882" cy="3949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14300">
                <a:spcBef>
                  <a:spcPts val="200"/>
                </a:spcBef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636363"/>
                  </a:solidFill>
                  <a:ea typeface="Proxima Nova" charset="0"/>
                  <a:cs typeface="Proxima Nova" charset="0"/>
                </a:rPr>
                <a:t>Organization</a:t>
              </a:r>
            </a:p>
            <a:p>
              <a:pPr marL="171450" lvl="0" indent="-114300">
                <a:spcBef>
                  <a:spcPts val="200"/>
                </a:spcBef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636363"/>
                  </a:solidFill>
                  <a:ea typeface="Proxima Nova" charset="0"/>
                  <a:cs typeface="Proxima Nova" charset="0"/>
                </a:rPr>
                <a:t>Infrastructure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4151141" y="2971799"/>
            <a:ext cx="967741" cy="3008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PROJECT #2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020841" y="2971799"/>
            <a:ext cx="967741" cy="3008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PROJECT #2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973092" y="2971799"/>
            <a:ext cx="928628" cy="3008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PROJECT #2</a:t>
            </a:r>
          </a:p>
        </p:txBody>
      </p:sp>
      <p:cxnSp>
        <p:nvCxnSpPr>
          <p:cNvPr id="42" name="Elbow Connector 41"/>
          <p:cNvCxnSpPr>
            <a:stCxn id="40" idx="2"/>
            <a:endCxn id="38" idx="2"/>
          </p:cNvCxnSpPr>
          <p:nvPr/>
        </p:nvCxnSpPr>
        <p:spPr>
          <a:xfrm rot="16200000" flipH="1">
            <a:off x="3536209" y="2173859"/>
            <a:ext cx="12700" cy="2197606"/>
          </a:xfrm>
          <a:prstGeom prst="bentConnector3">
            <a:avLst>
              <a:gd name="adj1" fmla="val 1800000"/>
            </a:avLst>
          </a:prstGeom>
          <a:ln>
            <a:solidFill>
              <a:schemeClr val="bg1">
                <a:lumMod val="50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endCxn id="39" idx="2"/>
          </p:cNvCxnSpPr>
          <p:nvPr/>
        </p:nvCxnSpPr>
        <p:spPr>
          <a:xfrm flipH="1" flipV="1">
            <a:off x="3504712" y="3272662"/>
            <a:ext cx="0" cy="68211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2763941" y="971550"/>
            <a:ext cx="1516856" cy="565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AUTOMATION /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CONTINUOUS DELIVERY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04800" y="984224"/>
            <a:ext cx="1624013" cy="329749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numCol="1" rtlCol="0" anchor="t"/>
          <a:lstStyle/>
          <a:p>
            <a:pPr marL="228600" indent="-171450">
              <a:spcBef>
                <a:spcPts val="4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Test Design &amp; NFRs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Scripting &amp; QA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Testing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Optimization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Re-testing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Analysis, Reporting &amp; Recommendations</a:t>
            </a:r>
          </a:p>
          <a:p>
            <a:pPr marL="228600" indent="-171450">
              <a:spcBef>
                <a:spcPts val="600"/>
              </a:spcBef>
              <a:buFont typeface="+mj-lt"/>
              <a:buAutoNum type="arabicPeriod"/>
            </a:pPr>
            <a:r>
              <a:rPr lang="en-US" sz="1000" dirty="0">
                <a:solidFill>
                  <a:schemeClr val="tx1"/>
                </a:solidFill>
                <a:ea typeface="Proxima Nova" charset="0"/>
                <a:cs typeface="Proxima Nova" charset="0"/>
              </a:rPr>
              <a:t>Post-actions &amp; Automatio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41640" y="1034670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cxnSp>
        <p:nvCxnSpPr>
          <p:cNvPr id="61" name="Straight Arrow Connector 60"/>
          <p:cNvCxnSpPr/>
          <p:nvPr/>
        </p:nvCxnSpPr>
        <p:spPr>
          <a:xfrm flipV="1">
            <a:off x="3504712" y="2377313"/>
            <a:ext cx="0" cy="59448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endCxn id="49" idx="2"/>
          </p:cNvCxnSpPr>
          <p:nvPr/>
        </p:nvCxnSpPr>
        <p:spPr>
          <a:xfrm flipV="1">
            <a:off x="3504712" y="1536700"/>
            <a:ext cx="0" cy="49688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2763941" y="2027336"/>
            <a:ext cx="1516856" cy="353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ea typeface="Proxima Nova" charset="0"/>
                <a:cs typeface="Proxima Nova" charset="0"/>
              </a:rPr>
              <a:t>DELIVERY ASSURANCE</a:t>
            </a:r>
          </a:p>
        </p:txBody>
      </p:sp>
      <p:sp>
        <p:nvSpPr>
          <p:cNvPr id="72" name="Oval 71"/>
          <p:cNvSpPr/>
          <p:nvPr/>
        </p:nvSpPr>
        <p:spPr>
          <a:xfrm>
            <a:off x="5250402" y="977825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1</a:t>
            </a:r>
          </a:p>
        </p:txBody>
      </p:sp>
      <p:sp>
        <p:nvSpPr>
          <p:cNvPr id="74" name="Oval 73"/>
          <p:cNvSpPr/>
          <p:nvPr/>
        </p:nvSpPr>
        <p:spPr>
          <a:xfrm>
            <a:off x="2502275" y="3928707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3</a:t>
            </a:r>
          </a:p>
        </p:txBody>
      </p:sp>
      <p:sp>
        <p:nvSpPr>
          <p:cNvPr id="75" name="Oval 74"/>
          <p:cNvSpPr/>
          <p:nvPr/>
        </p:nvSpPr>
        <p:spPr>
          <a:xfrm>
            <a:off x="1971185" y="2688462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4</a:t>
            </a:r>
          </a:p>
        </p:txBody>
      </p:sp>
      <p:sp>
        <p:nvSpPr>
          <p:cNvPr id="76" name="Oval 75"/>
          <p:cNvSpPr/>
          <p:nvPr/>
        </p:nvSpPr>
        <p:spPr>
          <a:xfrm>
            <a:off x="2502275" y="2019022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5</a:t>
            </a:r>
          </a:p>
        </p:txBody>
      </p:sp>
      <p:sp>
        <p:nvSpPr>
          <p:cNvPr id="77" name="Oval 76"/>
          <p:cNvSpPr/>
          <p:nvPr/>
        </p:nvSpPr>
        <p:spPr>
          <a:xfrm>
            <a:off x="2502275" y="979439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6</a:t>
            </a:r>
          </a:p>
        </p:txBody>
      </p:sp>
      <p:cxnSp>
        <p:nvCxnSpPr>
          <p:cNvPr id="78" name="Elbow Connector 77"/>
          <p:cNvCxnSpPr>
            <a:stCxn id="40" idx="0"/>
            <a:endCxn id="38" idx="0"/>
          </p:cNvCxnSpPr>
          <p:nvPr/>
        </p:nvCxnSpPr>
        <p:spPr>
          <a:xfrm rot="5400000" flipH="1" flipV="1">
            <a:off x="3536209" y="1872996"/>
            <a:ext cx="12700" cy="2197606"/>
          </a:xfrm>
          <a:prstGeom prst="bentConnector3">
            <a:avLst>
              <a:gd name="adj1" fmla="val 1800000"/>
            </a:avLst>
          </a:prstGeom>
          <a:ln>
            <a:solidFill>
              <a:schemeClr val="bg1">
                <a:lumMod val="50000"/>
              </a:schemeClr>
            </a:solidFill>
            <a:headEnd type="non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Freeform 82"/>
          <p:cNvSpPr/>
          <p:nvPr/>
        </p:nvSpPr>
        <p:spPr>
          <a:xfrm>
            <a:off x="5537200" y="1986399"/>
            <a:ext cx="1094943" cy="1695349"/>
          </a:xfrm>
          <a:custGeom>
            <a:avLst/>
            <a:gdLst>
              <a:gd name="connsiteX0" fmla="*/ 980064 w 1427049"/>
              <a:gd name="connsiteY0" fmla="*/ 0 h 2209564"/>
              <a:gd name="connsiteX1" fmla="*/ 980064 w 1427049"/>
              <a:gd name="connsiteY1" fmla="*/ 1540937 h 2209564"/>
              <a:gd name="connsiteX2" fmla="*/ 980064 w 1427049"/>
              <a:gd name="connsiteY2" fmla="*/ 1574188 h 2209564"/>
              <a:gd name="connsiteX3" fmla="*/ 981743 w 1427049"/>
              <a:gd name="connsiteY3" fmla="*/ 1574188 h 2209564"/>
              <a:gd name="connsiteX4" fmla="*/ 983802 w 1427049"/>
              <a:gd name="connsiteY4" fmla="*/ 1614967 h 2209564"/>
              <a:gd name="connsiteX5" fmla="*/ 985100 w 1427049"/>
              <a:gd name="connsiteY5" fmla="*/ 1623468 h 2209564"/>
              <a:gd name="connsiteX6" fmla="*/ 987498 w 1427049"/>
              <a:gd name="connsiteY6" fmla="*/ 1639179 h 2209564"/>
              <a:gd name="connsiteX7" fmla="*/ 988407 w 1427049"/>
              <a:gd name="connsiteY7" fmla="*/ 1651202 h 2209564"/>
              <a:gd name="connsiteX8" fmla="*/ 991146 w 1427049"/>
              <a:gd name="connsiteY8" fmla="*/ 1663082 h 2209564"/>
              <a:gd name="connsiteX9" fmla="*/ 994774 w 1427049"/>
              <a:gd name="connsiteY9" fmla="*/ 1686857 h 2209564"/>
              <a:gd name="connsiteX10" fmla="*/ 1001958 w 1427049"/>
              <a:gd name="connsiteY10" fmla="*/ 1710000 h 2209564"/>
              <a:gd name="connsiteX11" fmla="*/ 1006251 w 1427049"/>
              <a:gd name="connsiteY11" fmla="*/ 1728627 h 2209564"/>
              <a:gd name="connsiteX12" fmla="*/ 1010023 w 1427049"/>
              <a:gd name="connsiteY12" fmla="*/ 1747722 h 2209564"/>
              <a:gd name="connsiteX13" fmla="*/ 1011502 w 1427049"/>
              <a:gd name="connsiteY13" fmla="*/ 1751413 h 2209564"/>
              <a:gd name="connsiteX14" fmla="*/ 1012616 w 1427049"/>
              <a:gd name="connsiteY14" fmla="*/ 1756246 h 2209564"/>
              <a:gd name="connsiteX15" fmla="*/ 1030044 w 1427049"/>
              <a:gd name="connsiteY15" fmla="*/ 1800478 h 2209564"/>
              <a:gd name="connsiteX16" fmla="*/ 1035434 w 1427049"/>
              <a:gd name="connsiteY16" fmla="*/ 1817841 h 2209564"/>
              <a:gd name="connsiteX17" fmla="*/ 1036963 w 1427049"/>
              <a:gd name="connsiteY17" fmla="*/ 1822768 h 2209564"/>
              <a:gd name="connsiteX18" fmla="*/ 1043760 w 1427049"/>
              <a:gd name="connsiteY18" fmla="*/ 1835291 h 2209564"/>
              <a:gd name="connsiteX19" fmla="*/ 1051463 w 1427049"/>
              <a:gd name="connsiteY19" fmla="*/ 1854840 h 2209564"/>
              <a:gd name="connsiteX20" fmla="*/ 1056451 w 1427049"/>
              <a:gd name="connsiteY20" fmla="*/ 1863518 h 2209564"/>
              <a:gd name="connsiteX21" fmla="*/ 1059275 w 1427049"/>
              <a:gd name="connsiteY21" fmla="*/ 1870560 h 2209564"/>
              <a:gd name="connsiteX22" fmla="*/ 1072724 w 1427049"/>
              <a:gd name="connsiteY22" fmla="*/ 1891830 h 2209564"/>
              <a:gd name="connsiteX23" fmla="*/ 1103714 w 1427049"/>
              <a:gd name="connsiteY23" fmla="*/ 1945748 h 2209564"/>
              <a:gd name="connsiteX24" fmla="*/ 1103718 w 1427049"/>
              <a:gd name="connsiteY24" fmla="*/ 1945755 h 2209564"/>
              <a:gd name="connsiteX25" fmla="*/ 1103720 w 1427049"/>
              <a:gd name="connsiteY25" fmla="*/ 1945758 h 2209564"/>
              <a:gd name="connsiteX26" fmla="*/ 1103737 w 1427049"/>
              <a:gd name="connsiteY26" fmla="*/ 1945778 h 2209564"/>
              <a:gd name="connsiteX27" fmla="*/ 1119611 w 1427049"/>
              <a:gd name="connsiteY27" fmla="*/ 1965981 h 2209564"/>
              <a:gd name="connsiteX28" fmla="*/ 1129160 w 1427049"/>
              <a:gd name="connsiteY28" fmla="*/ 1981082 h 2209564"/>
              <a:gd name="connsiteX29" fmla="*/ 1145053 w 1427049"/>
              <a:gd name="connsiteY29" fmla="*/ 1998362 h 2209564"/>
              <a:gd name="connsiteX30" fmla="*/ 1168158 w 1427049"/>
              <a:gd name="connsiteY30" fmla="*/ 2027769 h 2209564"/>
              <a:gd name="connsiteX31" fmla="*/ 1183278 w 1427049"/>
              <a:gd name="connsiteY31" fmla="*/ 2042183 h 2209564"/>
              <a:gd name="connsiteX32" fmla="*/ 1192132 w 1427049"/>
              <a:gd name="connsiteY32" fmla="*/ 2052914 h 2209564"/>
              <a:gd name="connsiteX33" fmla="*/ 1204969 w 1427049"/>
              <a:gd name="connsiteY33" fmla="*/ 2063506 h 2209564"/>
              <a:gd name="connsiteX34" fmla="*/ 1217278 w 1427049"/>
              <a:gd name="connsiteY34" fmla="*/ 2076889 h 2209564"/>
              <a:gd name="connsiteX35" fmla="*/ 1228941 w 1427049"/>
              <a:gd name="connsiteY35" fmla="*/ 2085718 h 2209564"/>
              <a:gd name="connsiteX36" fmla="*/ 1243550 w 1427049"/>
              <a:gd name="connsiteY36" fmla="*/ 2099645 h 2209564"/>
              <a:gd name="connsiteX37" fmla="*/ 1281300 w 1427049"/>
              <a:gd name="connsiteY37" fmla="*/ 2126485 h 2209564"/>
              <a:gd name="connsiteX38" fmla="*/ 1299289 w 1427049"/>
              <a:gd name="connsiteY38" fmla="*/ 2141327 h 2209564"/>
              <a:gd name="connsiteX39" fmla="*/ 1310288 w 1427049"/>
              <a:gd name="connsiteY39" fmla="*/ 2147297 h 2209564"/>
              <a:gd name="connsiteX40" fmla="*/ 1321232 w 1427049"/>
              <a:gd name="connsiteY40" fmla="*/ 2155581 h 2209564"/>
              <a:gd name="connsiteX41" fmla="*/ 1324648 w 1427049"/>
              <a:gd name="connsiteY41" fmla="*/ 2157303 h 2209564"/>
              <a:gd name="connsiteX42" fmla="*/ 1328666 w 1427049"/>
              <a:gd name="connsiteY42" fmla="*/ 2160160 h 2209564"/>
              <a:gd name="connsiteX43" fmla="*/ 1422278 w 1427049"/>
              <a:gd name="connsiteY43" fmla="*/ 2208083 h 2209564"/>
              <a:gd name="connsiteX44" fmla="*/ 1427049 w 1427049"/>
              <a:gd name="connsiteY44" fmla="*/ 2209564 h 2209564"/>
              <a:gd name="connsiteX45" fmla="*/ 136476 w 1427049"/>
              <a:gd name="connsiteY45" fmla="*/ 2209564 h 2209564"/>
              <a:gd name="connsiteX46" fmla="*/ 133918 w 1427049"/>
              <a:gd name="connsiteY46" fmla="*/ 2204253 h 2209564"/>
              <a:gd name="connsiteX47" fmla="*/ 0 w 1427049"/>
              <a:gd name="connsiteY47" fmla="*/ 1540937 h 2209564"/>
              <a:gd name="connsiteX48" fmla="*/ 891830 w 1427049"/>
              <a:gd name="connsiteY48" fmla="*/ 42505 h 220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427049" h="2209564">
                <a:moveTo>
                  <a:pt x="980064" y="0"/>
                </a:moveTo>
                <a:lnTo>
                  <a:pt x="980064" y="1540937"/>
                </a:lnTo>
                <a:lnTo>
                  <a:pt x="980064" y="1574188"/>
                </a:lnTo>
                <a:lnTo>
                  <a:pt x="981743" y="1574188"/>
                </a:lnTo>
                <a:lnTo>
                  <a:pt x="983802" y="1614967"/>
                </a:lnTo>
                <a:lnTo>
                  <a:pt x="985100" y="1623468"/>
                </a:lnTo>
                <a:lnTo>
                  <a:pt x="987498" y="1639179"/>
                </a:lnTo>
                <a:lnTo>
                  <a:pt x="988407" y="1651202"/>
                </a:lnTo>
                <a:lnTo>
                  <a:pt x="991146" y="1663082"/>
                </a:lnTo>
                <a:lnTo>
                  <a:pt x="994774" y="1686857"/>
                </a:lnTo>
                <a:lnTo>
                  <a:pt x="1001958" y="1710000"/>
                </a:lnTo>
                <a:lnTo>
                  <a:pt x="1006251" y="1728627"/>
                </a:lnTo>
                <a:lnTo>
                  <a:pt x="1010023" y="1747722"/>
                </a:lnTo>
                <a:lnTo>
                  <a:pt x="1011502" y="1751413"/>
                </a:lnTo>
                <a:lnTo>
                  <a:pt x="1012616" y="1756246"/>
                </a:lnTo>
                <a:lnTo>
                  <a:pt x="1030044" y="1800478"/>
                </a:lnTo>
                <a:lnTo>
                  <a:pt x="1035434" y="1817841"/>
                </a:lnTo>
                <a:lnTo>
                  <a:pt x="1036963" y="1822768"/>
                </a:lnTo>
                <a:lnTo>
                  <a:pt x="1043760" y="1835291"/>
                </a:lnTo>
                <a:lnTo>
                  <a:pt x="1051463" y="1854840"/>
                </a:lnTo>
                <a:lnTo>
                  <a:pt x="1056451" y="1863518"/>
                </a:lnTo>
                <a:lnTo>
                  <a:pt x="1059275" y="1870560"/>
                </a:lnTo>
                <a:lnTo>
                  <a:pt x="1072724" y="1891830"/>
                </a:lnTo>
                <a:lnTo>
                  <a:pt x="1103714" y="1945748"/>
                </a:lnTo>
                <a:lnTo>
                  <a:pt x="1103718" y="1945755"/>
                </a:lnTo>
                <a:lnTo>
                  <a:pt x="1103720" y="1945758"/>
                </a:lnTo>
                <a:lnTo>
                  <a:pt x="1103737" y="1945778"/>
                </a:lnTo>
                <a:lnTo>
                  <a:pt x="1119611" y="1965981"/>
                </a:lnTo>
                <a:lnTo>
                  <a:pt x="1129160" y="1981082"/>
                </a:lnTo>
                <a:lnTo>
                  <a:pt x="1145053" y="1998362"/>
                </a:lnTo>
                <a:lnTo>
                  <a:pt x="1168158" y="2027769"/>
                </a:lnTo>
                <a:lnTo>
                  <a:pt x="1183278" y="2042183"/>
                </a:lnTo>
                <a:lnTo>
                  <a:pt x="1192132" y="2052914"/>
                </a:lnTo>
                <a:lnTo>
                  <a:pt x="1204969" y="2063506"/>
                </a:lnTo>
                <a:lnTo>
                  <a:pt x="1217278" y="2076889"/>
                </a:lnTo>
                <a:lnTo>
                  <a:pt x="1228941" y="2085718"/>
                </a:lnTo>
                <a:lnTo>
                  <a:pt x="1243550" y="2099645"/>
                </a:lnTo>
                <a:lnTo>
                  <a:pt x="1281300" y="2126485"/>
                </a:lnTo>
                <a:lnTo>
                  <a:pt x="1299289" y="2141327"/>
                </a:lnTo>
                <a:lnTo>
                  <a:pt x="1310288" y="2147297"/>
                </a:lnTo>
                <a:lnTo>
                  <a:pt x="1321232" y="2155581"/>
                </a:lnTo>
                <a:lnTo>
                  <a:pt x="1324648" y="2157303"/>
                </a:lnTo>
                <a:lnTo>
                  <a:pt x="1328666" y="2160160"/>
                </a:lnTo>
                <a:cubicBezTo>
                  <a:pt x="1358522" y="2178301"/>
                  <a:pt x="1389795" y="2194344"/>
                  <a:pt x="1422278" y="2208083"/>
                </a:cubicBezTo>
                <a:lnTo>
                  <a:pt x="1427049" y="2209564"/>
                </a:lnTo>
                <a:lnTo>
                  <a:pt x="136476" y="2209564"/>
                </a:lnTo>
                <a:lnTo>
                  <a:pt x="133918" y="2204253"/>
                </a:lnTo>
                <a:cubicBezTo>
                  <a:pt x="47685" y="2000376"/>
                  <a:pt x="0" y="1776225"/>
                  <a:pt x="0" y="1540937"/>
                </a:cubicBezTo>
                <a:cubicBezTo>
                  <a:pt x="0" y="893894"/>
                  <a:pt x="360616" y="331078"/>
                  <a:pt x="891830" y="42505"/>
                </a:cubicBezTo>
                <a:close/>
              </a:path>
            </a:pathLst>
          </a:cu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Freeform 83"/>
          <p:cNvSpPr/>
          <p:nvPr/>
        </p:nvSpPr>
        <p:spPr>
          <a:xfrm rot="5400000">
            <a:off x="6634688" y="1564004"/>
            <a:ext cx="1094943" cy="1695349"/>
          </a:xfrm>
          <a:custGeom>
            <a:avLst/>
            <a:gdLst>
              <a:gd name="connsiteX0" fmla="*/ 980064 w 1427049"/>
              <a:gd name="connsiteY0" fmla="*/ 0 h 2209564"/>
              <a:gd name="connsiteX1" fmla="*/ 980064 w 1427049"/>
              <a:gd name="connsiteY1" fmla="*/ 1540937 h 2209564"/>
              <a:gd name="connsiteX2" fmla="*/ 980064 w 1427049"/>
              <a:gd name="connsiteY2" fmla="*/ 1574188 h 2209564"/>
              <a:gd name="connsiteX3" fmla="*/ 981743 w 1427049"/>
              <a:gd name="connsiteY3" fmla="*/ 1574188 h 2209564"/>
              <a:gd name="connsiteX4" fmla="*/ 983802 w 1427049"/>
              <a:gd name="connsiteY4" fmla="*/ 1614967 h 2209564"/>
              <a:gd name="connsiteX5" fmla="*/ 985100 w 1427049"/>
              <a:gd name="connsiteY5" fmla="*/ 1623468 h 2209564"/>
              <a:gd name="connsiteX6" fmla="*/ 987498 w 1427049"/>
              <a:gd name="connsiteY6" fmla="*/ 1639179 h 2209564"/>
              <a:gd name="connsiteX7" fmla="*/ 988407 w 1427049"/>
              <a:gd name="connsiteY7" fmla="*/ 1651202 h 2209564"/>
              <a:gd name="connsiteX8" fmla="*/ 991146 w 1427049"/>
              <a:gd name="connsiteY8" fmla="*/ 1663082 h 2209564"/>
              <a:gd name="connsiteX9" fmla="*/ 994774 w 1427049"/>
              <a:gd name="connsiteY9" fmla="*/ 1686857 h 2209564"/>
              <a:gd name="connsiteX10" fmla="*/ 1001958 w 1427049"/>
              <a:gd name="connsiteY10" fmla="*/ 1710000 h 2209564"/>
              <a:gd name="connsiteX11" fmla="*/ 1006251 w 1427049"/>
              <a:gd name="connsiteY11" fmla="*/ 1728627 h 2209564"/>
              <a:gd name="connsiteX12" fmla="*/ 1010023 w 1427049"/>
              <a:gd name="connsiteY12" fmla="*/ 1747722 h 2209564"/>
              <a:gd name="connsiteX13" fmla="*/ 1011502 w 1427049"/>
              <a:gd name="connsiteY13" fmla="*/ 1751413 h 2209564"/>
              <a:gd name="connsiteX14" fmla="*/ 1012616 w 1427049"/>
              <a:gd name="connsiteY14" fmla="*/ 1756246 h 2209564"/>
              <a:gd name="connsiteX15" fmla="*/ 1030044 w 1427049"/>
              <a:gd name="connsiteY15" fmla="*/ 1800478 h 2209564"/>
              <a:gd name="connsiteX16" fmla="*/ 1035434 w 1427049"/>
              <a:gd name="connsiteY16" fmla="*/ 1817841 h 2209564"/>
              <a:gd name="connsiteX17" fmla="*/ 1036963 w 1427049"/>
              <a:gd name="connsiteY17" fmla="*/ 1822768 h 2209564"/>
              <a:gd name="connsiteX18" fmla="*/ 1043760 w 1427049"/>
              <a:gd name="connsiteY18" fmla="*/ 1835291 h 2209564"/>
              <a:gd name="connsiteX19" fmla="*/ 1051463 w 1427049"/>
              <a:gd name="connsiteY19" fmla="*/ 1854840 h 2209564"/>
              <a:gd name="connsiteX20" fmla="*/ 1056451 w 1427049"/>
              <a:gd name="connsiteY20" fmla="*/ 1863518 h 2209564"/>
              <a:gd name="connsiteX21" fmla="*/ 1059275 w 1427049"/>
              <a:gd name="connsiteY21" fmla="*/ 1870560 h 2209564"/>
              <a:gd name="connsiteX22" fmla="*/ 1072724 w 1427049"/>
              <a:gd name="connsiteY22" fmla="*/ 1891830 h 2209564"/>
              <a:gd name="connsiteX23" fmla="*/ 1103714 w 1427049"/>
              <a:gd name="connsiteY23" fmla="*/ 1945748 h 2209564"/>
              <a:gd name="connsiteX24" fmla="*/ 1103718 w 1427049"/>
              <a:gd name="connsiteY24" fmla="*/ 1945755 h 2209564"/>
              <a:gd name="connsiteX25" fmla="*/ 1103720 w 1427049"/>
              <a:gd name="connsiteY25" fmla="*/ 1945758 h 2209564"/>
              <a:gd name="connsiteX26" fmla="*/ 1103737 w 1427049"/>
              <a:gd name="connsiteY26" fmla="*/ 1945778 h 2209564"/>
              <a:gd name="connsiteX27" fmla="*/ 1119611 w 1427049"/>
              <a:gd name="connsiteY27" fmla="*/ 1965981 h 2209564"/>
              <a:gd name="connsiteX28" fmla="*/ 1129160 w 1427049"/>
              <a:gd name="connsiteY28" fmla="*/ 1981082 h 2209564"/>
              <a:gd name="connsiteX29" fmla="*/ 1145053 w 1427049"/>
              <a:gd name="connsiteY29" fmla="*/ 1998362 h 2209564"/>
              <a:gd name="connsiteX30" fmla="*/ 1168158 w 1427049"/>
              <a:gd name="connsiteY30" fmla="*/ 2027769 h 2209564"/>
              <a:gd name="connsiteX31" fmla="*/ 1183278 w 1427049"/>
              <a:gd name="connsiteY31" fmla="*/ 2042183 h 2209564"/>
              <a:gd name="connsiteX32" fmla="*/ 1192132 w 1427049"/>
              <a:gd name="connsiteY32" fmla="*/ 2052914 h 2209564"/>
              <a:gd name="connsiteX33" fmla="*/ 1204969 w 1427049"/>
              <a:gd name="connsiteY33" fmla="*/ 2063506 h 2209564"/>
              <a:gd name="connsiteX34" fmla="*/ 1217278 w 1427049"/>
              <a:gd name="connsiteY34" fmla="*/ 2076889 h 2209564"/>
              <a:gd name="connsiteX35" fmla="*/ 1228941 w 1427049"/>
              <a:gd name="connsiteY35" fmla="*/ 2085718 h 2209564"/>
              <a:gd name="connsiteX36" fmla="*/ 1243550 w 1427049"/>
              <a:gd name="connsiteY36" fmla="*/ 2099645 h 2209564"/>
              <a:gd name="connsiteX37" fmla="*/ 1281300 w 1427049"/>
              <a:gd name="connsiteY37" fmla="*/ 2126485 h 2209564"/>
              <a:gd name="connsiteX38" fmla="*/ 1299289 w 1427049"/>
              <a:gd name="connsiteY38" fmla="*/ 2141327 h 2209564"/>
              <a:gd name="connsiteX39" fmla="*/ 1310288 w 1427049"/>
              <a:gd name="connsiteY39" fmla="*/ 2147297 h 2209564"/>
              <a:gd name="connsiteX40" fmla="*/ 1321232 w 1427049"/>
              <a:gd name="connsiteY40" fmla="*/ 2155581 h 2209564"/>
              <a:gd name="connsiteX41" fmla="*/ 1324648 w 1427049"/>
              <a:gd name="connsiteY41" fmla="*/ 2157303 h 2209564"/>
              <a:gd name="connsiteX42" fmla="*/ 1328666 w 1427049"/>
              <a:gd name="connsiteY42" fmla="*/ 2160160 h 2209564"/>
              <a:gd name="connsiteX43" fmla="*/ 1422278 w 1427049"/>
              <a:gd name="connsiteY43" fmla="*/ 2208083 h 2209564"/>
              <a:gd name="connsiteX44" fmla="*/ 1427049 w 1427049"/>
              <a:gd name="connsiteY44" fmla="*/ 2209564 h 2209564"/>
              <a:gd name="connsiteX45" fmla="*/ 136476 w 1427049"/>
              <a:gd name="connsiteY45" fmla="*/ 2209564 h 2209564"/>
              <a:gd name="connsiteX46" fmla="*/ 133918 w 1427049"/>
              <a:gd name="connsiteY46" fmla="*/ 2204253 h 2209564"/>
              <a:gd name="connsiteX47" fmla="*/ 0 w 1427049"/>
              <a:gd name="connsiteY47" fmla="*/ 1540937 h 2209564"/>
              <a:gd name="connsiteX48" fmla="*/ 891830 w 1427049"/>
              <a:gd name="connsiteY48" fmla="*/ 42505 h 220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427049" h="2209564">
                <a:moveTo>
                  <a:pt x="980064" y="0"/>
                </a:moveTo>
                <a:lnTo>
                  <a:pt x="980064" y="1540937"/>
                </a:lnTo>
                <a:lnTo>
                  <a:pt x="980064" y="1574188"/>
                </a:lnTo>
                <a:lnTo>
                  <a:pt x="981743" y="1574188"/>
                </a:lnTo>
                <a:lnTo>
                  <a:pt x="983802" y="1614967"/>
                </a:lnTo>
                <a:lnTo>
                  <a:pt x="985100" y="1623468"/>
                </a:lnTo>
                <a:lnTo>
                  <a:pt x="987498" y="1639179"/>
                </a:lnTo>
                <a:lnTo>
                  <a:pt x="988407" y="1651202"/>
                </a:lnTo>
                <a:lnTo>
                  <a:pt x="991146" y="1663082"/>
                </a:lnTo>
                <a:lnTo>
                  <a:pt x="994774" y="1686857"/>
                </a:lnTo>
                <a:lnTo>
                  <a:pt x="1001958" y="1710000"/>
                </a:lnTo>
                <a:lnTo>
                  <a:pt x="1006251" y="1728627"/>
                </a:lnTo>
                <a:lnTo>
                  <a:pt x="1010023" y="1747722"/>
                </a:lnTo>
                <a:lnTo>
                  <a:pt x="1011502" y="1751413"/>
                </a:lnTo>
                <a:lnTo>
                  <a:pt x="1012616" y="1756246"/>
                </a:lnTo>
                <a:lnTo>
                  <a:pt x="1030044" y="1800478"/>
                </a:lnTo>
                <a:lnTo>
                  <a:pt x="1035434" y="1817841"/>
                </a:lnTo>
                <a:lnTo>
                  <a:pt x="1036963" y="1822768"/>
                </a:lnTo>
                <a:lnTo>
                  <a:pt x="1043760" y="1835291"/>
                </a:lnTo>
                <a:lnTo>
                  <a:pt x="1051463" y="1854840"/>
                </a:lnTo>
                <a:lnTo>
                  <a:pt x="1056451" y="1863518"/>
                </a:lnTo>
                <a:lnTo>
                  <a:pt x="1059275" y="1870560"/>
                </a:lnTo>
                <a:lnTo>
                  <a:pt x="1072724" y="1891830"/>
                </a:lnTo>
                <a:lnTo>
                  <a:pt x="1103714" y="1945748"/>
                </a:lnTo>
                <a:lnTo>
                  <a:pt x="1103718" y="1945755"/>
                </a:lnTo>
                <a:lnTo>
                  <a:pt x="1103720" y="1945758"/>
                </a:lnTo>
                <a:lnTo>
                  <a:pt x="1103737" y="1945778"/>
                </a:lnTo>
                <a:lnTo>
                  <a:pt x="1119611" y="1965981"/>
                </a:lnTo>
                <a:lnTo>
                  <a:pt x="1129160" y="1981082"/>
                </a:lnTo>
                <a:lnTo>
                  <a:pt x="1145053" y="1998362"/>
                </a:lnTo>
                <a:lnTo>
                  <a:pt x="1168158" y="2027769"/>
                </a:lnTo>
                <a:lnTo>
                  <a:pt x="1183278" y="2042183"/>
                </a:lnTo>
                <a:lnTo>
                  <a:pt x="1192132" y="2052914"/>
                </a:lnTo>
                <a:lnTo>
                  <a:pt x="1204969" y="2063506"/>
                </a:lnTo>
                <a:lnTo>
                  <a:pt x="1217278" y="2076889"/>
                </a:lnTo>
                <a:lnTo>
                  <a:pt x="1228941" y="2085718"/>
                </a:lnTo>
                <a:lnTo>
                  <a:pt x="1243550" y="2099645"/>
                </a:lnTo>
                <a:lnTo>
                  <a:pt x="1281300" y="2126485"/>
                </a:lnTo>
                <a:lnTo>
                  <a:pt x="1299289" y="2141327"/>
                </a:lnTo>
                <a:lnTo>
                  <a:pt x="1310288" y="2147297"/>
                </a:lnTo>
                <a:lnTo>
                  <a:pt x="1321232" y="2155581"/>
                </a:lnTo>
                <a:lnTo>
                  <a:pt x="1324648" y="2157303"/>
                </a:lnTo>
                <a:lnTo>
                  <a:pt x="1328666" y="2160160"/>
                </a:lnTo>
                <a:cubicBezTo>
                  <a:pt x="1358522" y="2178301"/>
                  <a:pt x="1389795" y="2194344"/>
                  <a:pt x="1422278" y="2208083"/>
                </a:cubicBezTo>
                <a:lnTo>
                  <a:pt x="1427049" y="2209564"/>
                </a:lnTo>
                <a:lnTo>
                  <a:pt x="136476" y="2209564"/>
                </a:lnTo>
                <a:lnTo>
                  <a:pt x="133918" y="2204253"/>
                </a:lnTo>
                <a:cubicBezTo>
                  <a:pt x="47685" y="2000376"/>
                  <a:pt x="0" y="1776225"/>
                  <a:pt x="0" y="1540937"/>
                </a:cubicBezTo>
                <a:cubicBezTo>
                  <a:pt x="0" y="893894"/>
                  <a:pt x="360616" y="331078"/>
                  <a:pt x="891830" y="42505"/>
                </a:cubicBez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Freeform 84"/>
          <p:cNvSpPr/>
          <p:nvPr/>
        </p:nvSpPr>
        <p:spPr>
          <a:xfrm flipH="1" flipV="1">
            <a:off x="7062031" y="2661430"/>
            <a:ext cx="1094943" cy="1695349"/>
          </a:xfrm>
          <a:custGeom>
            <a:avLst/>
            <a:gdLst>
              <a:gd name="connsiteX0" fmla="*/ 980064 w 1427049"/>
              <a:gd name="connsiteY0" fmla="*/ 0 h 2209564"/>
              <a:gd name="connsiteX1" fmla="*/ 980064 w 1427049"/>
              <a:gd name="connsiteY1" fmla="*/ 1540937 h 2209564"/>
              <a:gd name="connsiteX2" fmla="*/ 980064 w 1427049"/>
              <a:gd name="connsiteY2" fmla="*/ 1574188 h 2209564"/>
              <a:gd name="connsiteX3" fmla="*/ 981743 w 1427049"/>
              <a:gd name="connsiteY3" fmla="*/ 1574188 h 2209564"/>
              <a:gd name="connsiteX4" fmla="*/ 983802 w 1427049"/>
              <a:gd name="connsiteY4" fmla="*/ 1614967 h 2209564"/>
              <a:gd name="connsiteX5" fmla="*/ 985100 w 1427049"/>
              <a:gd name="connsiteY5" fmla="*/ 1623468 h 2209564"/>
              <a:gd name="connsiteX6" fmla="*/ 987498 w 1427049"/>
              <a:gd name="connsiteY6" fmla="*/ 1639179 h 2209564"/>
              <a:gd name="connsiteX7" fmla="*/ 988407 w 1427049"/>
              <a:gd name="connsiteY7" fmla="*/ 1651202 h 2209564"/>
              <a:gd name="connsiteX8" fmla="*/ 991146 w 1427049"/>
              <a:gd name="connsiteY8" fmla="*/ 1663082 h 2209564"/>
              <a:gd name="connsiteX9" fmla="*/ 994774 w 1427049"/>
              <a:gd name="connsiteY9" fmla="*/ 1686857 h 2209564"/>
              <a:gd name="connsiteX10" fmla="*/ 1001958 w 1427049"/>
              <a:gd name="connsiteY10" fmla="*/ 1710000 h 2209564"/>
              <a:gd name="connsiteX11" fmla="*/ 1006251 w 1427049"/>
              <a:gd name="connsiteY11" fmla="*/ 1728627 h 2209564"/>
              <a:gd name="connsiteX12" fmla="*/ 1010023 w 1427049"/>
              <a:gd name="connsiteY12" fmla="*/ 1747722 h 2209564"/>
              <a:gd name="connsiteX13" fmla="*/ 1011502 w 1427049"/>
              <a:gd name="connsiteY13" fmla="*/ 1751413 h 2209564"/>
              <a:gd name="connsiteX14" fmla="*/ 1012616 w 1427049"/>
              <a:gd name="connsiteY14" fmla="*/ 1756246 h 2209564"/>
              <a:gd name="connsiteX15" fmla="*/ 1030044 w 1427049"/>
              <a:gd name="connsiteY15" fmla="*/ 1800478 h 2209564"/>
              <a:gd name="connsiteX16" fmla="*/ 1035434 w 1427049"/>
              <a:gd name="connsiteY16" fmla="*/ 1817841 h 2209564"/>
              <a:gd name="connsiteX17" fmla="*/ 1036963 w 1427049"/>
              <a:gd name="connsiteY17" fmla="*/ 1822768 h 2209564"/>
              <a:gd name="connsiteX18" fmla="*/ 1043760 w 1427049"/>
              <a:gd name="connsiteY18" fmla="*/ 1835291 h 2209564"/>
              <a:gd name="connsiteX19" fmla="*/ 1051463 w 1427049"/>
              <a:gd name="connsiteY19" fmla="*/ 1854840 h 2209564"/>
              <a:gd name="connsiteX20" fmla="*/ 1056451 w 1427049"/>
              <a:gd name="connsiteY20" fmla="*/ 1863518 h 2209564"/>
              <a:gd name="connsiteX21" fmla="*/ 1059275 w 1427049"/>
              <a:gd name="connsiteY21" fmla="*/ 1870560 h 2209564"/>
              <a:gd name="connsiteX22" fmla="*/ 1072724 w 1427049"/>
              <a:gd name="connsiteY22" fmla="*/ 1891830 h 2209564"/>
              <a:gd name="connsiteX23" fmla="*/ 1103714 w 1427049"/>
              <a:gd name="connsiteY23" fmla="*/ 1945748 h 2209564"/>
              <a:gd name="connsiteX24" fmla="*/ 1103718 w 1427049"/>
              <a:gd name="connsiteY24" fmla="*/ 1945755 h 2209564"/>
              <a:gd name="connsiteX25" fmla="*/ 1103720 w 1427049"/>
              <a:gd name="connsiteY25" fmla="*/ 1945758 h 2209564"/>
              <a:gd name="connsiteX26" fmla="*/ 1103737 w 1427049"/>
              <a:gd name="connsiteY26" fmla="*/ 1945778 h 2209564"/>
              <a:gd name="connsiteX27" fmla="*/ 1119611 w 1427049"/>
              <a:gd name="connsiteY27" fmla="*/ 1965981 h 2209564"/>
              <a:gd name="connsiteX28" fmla="*/ 1129160 w 1427049"/>
              <a:gd name="connsiteY28" fmla="*/ 1981082 h 2209564"/>
              <a:gd name="connsiteX29" fmla="*/ 1145053 w 1427049"/>
              <a:gd name="connsiteY29" fmla="*/ 1998362 h 2209564"/>
              <a:gd name="connsiteX30" fmla="*/ 1168158 w 1427049"/>
              <a:gd name="connsiteY30" fmla="*/ 2027769 h 2209564"/>
              <a:gd name="connsiteX31" fmla="*/ 1183278 w 1427049"/>
              <a:gd name="connsiteY31" fmla="*/ 2042183 h 2209564"/>
              <a:gd name="connsiteX32" fmla="*/ 1192132 w 1427049"/>
              <a:gd name="connsiteY32" fmla="*/ 2052914 h 2209564"/>
              <a:gd name="connsiteX33" fmla="*/ 1204969 w 1427049"/>
              <a:gd name="connsiteY33" fmla="*/ 2063506 h 2209564"/>
              <a:gd name="connsiteX34" fmla="*/ 1217278 w 1427049"/>
              <a:gd name="connsiteY34" fmla="*/ 2076889 h 2209564"/>
              <a:gd name="connsiteX35" fmla="*/ 1228941 w 1427049"/>
              <a:gd name="connsiteY35" fmla="*/ 2085718 h 2209564"/>
              <a:gd name="connsiteX36" fmla="*/ 1243550 w 1427049"/>
              <a:gd name="connsiteY36" fmla="*/ 2099645 h 2209564"/>
              <a:gd name="connsiteX37" fmla="*/ 1281300 w 1427049"/>
              <a:gd name="connsiteY37" fmla="*/ 2126485 h 2209564"/>
              <a:gd name="connsiteX38" fmla="*/ 1299289 w 1427049"/>
              <a:gd name="connsiteY38" fmla="*/ 2141327 h 2209564"/>
              <a:gd name="connsiteX39" fmla="*/ 1310288 w 1427049"/>
              <a:gd name="connsiteY39" fmla="*/ 2147297 h 2209564"/>
              <a:gd name="connsiteX40" fmla="*/ 1321232 w 1427049"/>
              <a:gd name="connsiteY40" fmla="*/ 2155581 h 2209564"/>
              <a:gd name="connsiteX41" fmla="*/ 1324648 w 1427049"/>
              <a:gd name="connsiteY41" fmla="*/ 2157303 h 2209564"/>
              <a:gd name="connsiteX42" fmla="*/ 1328666 w 1427049"/>
              <a:gd name="connsiteY42" fmla="*/ 2160160 h 2209564"/>
              <a:gd name="connsiteX43" fmla="*/ 1422278 w 1427049"/>
              <a:gd name="connsiteY43" fmla="*/ 2208083 h 2209564"/>
              <a:gd name="connsiteX44" fmla="*/ 1427049 w 1427049"/>
              <a:gd name="connsiteY44" fmla="*/ 2209564 h 2209564"/>
              <a:gd name="connsiteX45" fmla="*/ 136476 w 1427049"/>
              <a:gd name="connsiteY45" fmla="*/ 2209564 h 2209564"/>
              <a:gd name="connsiteX46" fmla="*/ 133918 w 1427049"/>
              <a:gd name="connsiteY46" fmla="*/ 2204253 h 2209564"/>
              <a:gd name="connsiteX47" fmla="*/ 0 w 1427049"/>
              <a:gd name="connsiteY47" fmla="*/ 1540937 h 2209564"/>
              <a:gd name="connsiteX48" fmla="*/ 891830 w 1427049"/>
              <a:gd name="connsiteY48" fmla="*/ 42505 h 220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427049" h="2209564">
                <a:moveTo>
                  <a:pt x="980064" y="0"/>
                </a:moveTo>
                <a:lnTo>
                  <a:pt x="980064" y="1540937"/>
                </a:lnTo>
                <a:lnTo>
                  <a:pt x="980064" y="1574188"/>
                </a:lnTo>
                <a:lnTo>
                  <a:pt x="981743" y="1574188"/>
                </a:lnTo>
                <a:lnTo>
                  <a:pt x="983802" y="1614967"/>
                </a:lnTo>
                <a:lnTo>
                  <a:pt x="985100" y="1623468"/>
                </a:lnTo>
                <a:lnTo>
                  <a:pt x="987498" y="1639179"/>
                </a:lnTo>
                <a:lnTo>
                  <a:pt x="988407" y="1651202"/>
                </a:lnTo>
                <a:lnTo>
                  <a:pt x="991146" y="1663082"/>
                </a:lnTo>
                <a:lnTo>
                  <a:pt x="994774" y="1686857"/>
                </a:lnTo>
                <a:lnTo>
                  <a:pt x="1001958" y="1710000"/>
                </a:lnTo>
                <a:lnTo>
                  <a:pt x="1006251" y="1728627"/>
                </a:lnTo>
                <a:lnTo>
                  <a:pt x="1010023" y="1747722"/>
                </a:lnTo>
                <a:lnTo>
                  <a:pt x="1011502" y="1751413"/>
                </a:lnTo>
                <a:lnTo>
                  <a:pt x="1012616" y="1756246"/>
                </a:lnTo>
                <a:lnTo>
                  <a:pt x="1030044" y="1800478"/>
                </a:lnTo>
                <a:lnTo>
                  <a:pt x="1035434" y="1817841"/>
                </a:lnTo>
                <a:lnTo>
                  <a:pt x="1036963" y="1822768"/>
                </a:lnTo>
                <a:lnTo>
                  <a:pt x="1043760" y="1835291"/>
                </a:lnTo>
                <a:lnTo>
                  <a:pt x="1051463" y="1854840"/>
                </a:lnTo>
                <a:lnTo>
                  <a:pt x="1056451" y="1863518"/>
                </a:lnTo>
                <a:lnTo>
                  <a:pt x="1059275" y="1870560"/>
                </a:lnTo>
                <a:lnTo>
                  <a:pt x="1072724" y="1891830"/>
                </a:lnTo>
                <a:lnTo>
                  <a:pt x="1103714" y="1945748"/>
                </a:lnTo>
                <a:lnTo>
                  <a:pt x="1103718" y="1945755"/>
                </a:lnTo>
                <a:lnTo>
                  <a:pt x="1103720" y="1945758"/>
                </a:lnTo>
                <a:lnTo>
                  <a:pt x="1103737" y="1945778"/>
                </a:lnTo>
                <a:lnTo>
                  <a:pt x="1119611" y="1965981"/>
                </a:lnTo>
                <a:lnTo>
                  <a:pt x="1129160" y="1981082"/>
                </a:lnTo>
                <a:lnTo>
                  <a:pt x="1145053" y="1998362"/>
                </a:lnTo>
                <a:lnTo>
                  <a:pt x="1168158" y="2027769"/>
                </a:lnTo>
                <a:lnTo>
                  <a:pt x="1183278" y="2042183"/>
                </a:lnTo>
                <a:lnTo>
                  <a:pt x="1192132" y="2052914"/>
                </a:lnTo>
                <a:lnTo>
                  <a:pt x="1204969" y="2063506"/>
                </a:lnTo>
                <a:lnTo>
                  <a:pt x="1217278" y="2076889"/>
                </a:lnTo>
                <a:lnTo>
                  <a:pt x="1228941" y="2085718"/>
                </a:lnTo>
                <a:lnTo>
                  <a:pt x="1243550" y="2099645"/>
                </a:lnTo>
                <a:lnTo>
                  <a:pt x="1281300" y="2126485"/>
                </a:lnTo>
                <a:lnTo>
                  <a:pt x="1299289" y="2141327"/>
                </a:lnTo>
                <a:lnTo>
                  <a:pt x="1310288" y="2147297"/>
                </a:lnTo>
                <a:lnTo>
                  <a:pt x="1321232" y="2155581"/>
                </a:lnTo>
                <a:lnTo>
                  <a:pt x="1324648" y="2157303"/>
                </a:lnTo>
                <a:lnTo>
                  <a:pt x="1328666" y="2160160"/>
                </a:lnTo>
                <a:cubicBezTo>
                  <a:pt x="1358522" y="2178301"/>
                  <a:pt x="1389795" y="2194344"/>
                  <a:pt x="1422278" y="2208083"/>
                </a:cubicBezTo>
                <a:lnTo>
                  <a:pt x="1427049" y="2209564"/>
                </a:lnTo>
                <a:lnTo>
                  <a:pt x="136476" y="2209564"/>
                </a:lnTo>
                <a:lnTo>
                  <a:pt x="133918" y="2204253"/>
                </a:lnTo>
                <a:cubicBezTo>
                  <a:pt x="47685" y="2000376"/>
                  <a:pt x="0" y="1776225"/>
                  <a:pt x="0" y="1540937"/>
                </a:cubicBezTo>
                <a:cubicBezTo>
                  <a:pt x="0" y="893894"/>
                  <a:pt x="360616" y="331078"/>
                  <a:pt x="891830" y="42505"/>
                </a:cubicBezTo>
                <a:close/>
              </a:path>
            </a:pathLst>
          </a:cu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Freeform 85"/>
          <p:cNvSpPr/>
          <p:nvPr/>
        </p:nvSpPr>
        <p:spPr>
          <a:xfrm rot="16200000">
            <a:off x="5962888" y="3081785"/>
            <a:ext cx="1094943" cy="1695349"/>
          </a:xfrm>
          <a:custGeom>
            <a:avLst/>
            <a:gdLst>
              <a:gd name="connsiteX0" fmla="*/ 980064 w 1427049"/>
              <a:gd name="connsiteY0" fmla="*/ 0 h 2209564"/>
              <a:gd name="connsiteX1" fmla="*/ 980064 w 1427049"/>
              <a:gd name="connsiteY1" fmla="*/ 1540937 h 2209564"/>
              <a:gd name="connsiteX2" fmla="*/ 980064 w 1427049"/>
              <a:gd name="connsiteY2" fmla="*/ 1574188 h 2209564"/>
              <a:gd name="connsiteX3" fmla="*/ 981743 w 1427049"/>
              <a:gd name="connsiteY3" fmla="*/ 1574188 h 2209564"/>
              <a:gd name="connsiteX4" fmla="*/ 983802 w 1427049"/>
              <a:gd name="connsiteY4" fmla="*/ 1614967 h 2209564"/>
              <a:gd name="connsiteX5" fmla="*/ 985100 w 1427049"/>
              <a:gd name="connsiteY5" fmla="*/ 1623468 h 2209564"/>
              <a:gd name="connsiteX6" fmla="*/ 987498 w 1427049"/>
              <a:gd name="connsiteY6" fmla="*/ 1639179 h 2209564"/>
              <a:gd name="connsiteX7" fmla="*/ 988407 w 1427049"/>
              <a:gd name="connsiteY7" fmla="*/ 1651202 h 2209564"/>
              <a:gd name="connsiteX8" fmla="*/ 991146 w 1427049"/>
              <a:gd name="connsiteY8" fmla="*/ 1663082 h 2209564"/>
              <a:gd name="connsiteX9" fmla="*/ 994774 w 1427049"/>
              <a:gd name="connsiteY9" fmla="*/ 1686857 h 2209564"/>
              <a:gd name="connsiteX10" fmla="*/ 1001958 w 1427049"/>
              <a:gd name="connsiteY10" fmla="*/ 1710000 h 2209564"/>
              <a:gd name="connsiteX11" fmla="*/ 1006251 w 1427049"/>
              <a:gd name="connsiteY11" fmla="*/ 1728627 h 2209564"/>
              <a:gd name="connsiteX12" fmla="*/ 1010023 w 1427049"/>
              <a:gd name="connsiteY12" fmla="*/ 1747722 h 2209564"/>
              <a:gd name="connsiteX13" fmla="*/ 1011502 w 1427049"/>
              <a:gd name="connsiteY13" fmla="*/ 1751413 h 2209564"/>
              <a:gd name="connsiteX14" fmla="*/ 1012616 w 1427049"/>
              <a:gd name="connsiteY14" fmla="*/ 1756246 h 2209564"/>
              <a:gd name="connsiteX15" fmla="*/ 1030044 w 1427049"/>
              <a:gd name="connsiteY15" fmla="*/ 1800478 h 2209564"/>
              <a:gd name="connsiteX16" fmla="*/ 1035434 w 1427049"/>
              <a:gd name="connsiteY16" fmla="*/ 1817841 h 2209564"/>
              <a:gd name="connsiteX17" fmla="*/ 1036963 w 1427049"/>
              <a:gd name="connsiteY17" fmla="*/ 1822768 h 2209564"/>
              <a:gd name="connsiteX18" fmla="*/ 1043760 w 1427049"/>
              <a:gd name="connsiteY18" fmla="*/ 1835291 h 2209564"/>
              <a:gd name="connsiteX19" fmla="*/ 1051463 w 1427049"/>
              <a:gd name="connsiteY19" fmla="*/ 1854840 h 2209564"/>
              <a:gd name="connsiteX20" fmla="*/ 1056451 w 1427049"/>
              <a:gd name="connsiteY20" fmla="*/ 1863518 h 2209564"/>
              <a:gd name="connsiteX21" fmla="*/ 1059275 w 1427049"/>
              <a:gd name="connsiteY21" fmla="*/ 1870560 h 2209564"/>
              <a:gd name="connsiteX22" fmla="*/ 1072724 w 1427049"/>
              <a:gd name="connsiteY22" fmla="*/ 1891830 h 2209564"/>
              <a:gd name="connsiteX23" fmla="*/ 1103714 w 1427049"/>
              <a:gd name="connsiteY23" fmla="*/ 1945748 h 2209564"/>
              <a:gd name="connsiteX24" fmla="*/ 1103718 w 1427049"/>
              <a:gd name="connsiteY24" fmla="*/ 1945755 h 2209564"/>
              <a:gd name="connsiteX25" fmla="*/ 1103720 w 1427049"/>
              <a:gd name="connsiteY25" fmla="*/ 1945758 h 2209564"/>
              <a:gd name="connsiteX26" fmla="*/ 1103737 w 1427049"/>
              <a:gd name="connsiteY26" fmla="*/ 1945778 h 2209564"/>
              <a:gd name="connsiteX27" fmla="*/ 1119611 w 1427049"/>
              <a:gd name="connsiteY27" fmla="*/ 1965981 h 2209564"/>
              <a:gd name="connsiteX28" fmla="*/ 1129160 w 1427049"/>
              <a:gd name="connsiteY28" fmla="*/ 1981082 h 2209564"/>
              <a:gd name="connsiteX29" fmla="*/ 1145053 w 1427049"/>
              <a:gd name="connsiteY29" fmla="*/ 1998362 h 2209564"/>
              <a:gd name="connsiteX30" fmla="*/ 1168158 w 1427049"/>
              <a:gd name="connsiteY30" fmla="*/ 2027769 h 2209564"/>
              <a:gd name="connsiteX31" fmla="*/ 1183278 w 1427049"/>
              <a:gd name="connsiteY31" fmla="*/ 2042183 h 2209564"/>
              <a:gd name="connsiteX32" fmla="*/ 1192132 w 1427049"/>
              <a:gd name="connsiteY32" fmla="*/ 2052914 h 2209564"/>
              <a:gd name="connsiteX33" fmla="*/ 1204969 w 1427049"/>
              <a:gd name="connsiteY33" fmla="*/ 2063506 h 2209564"/>
              <a:gd name="connsiteX34" fmla="*/ 1217278 w 1427049"/>
              <a:gd name="connsiteY34" fmla="*/ 2076889 h 2209564"/>
              <a:gd name="connsiteX35" fmla="*/ 1228941 w 1427049"/>
              <a:gd name="connsiteY35" fmla="*/ 2085718 h 2209564"/>
              <a:gd name="connsiteX36" fmla="*/ 1243550 w 1427049"/>
              <a:gd name="connsiteY36" fmla="*/ 2099645 h 2209564"/>
              <a:gd name="connsiteX37" fmla="*/ 1281300 w 1427049"/>
              <a:gd name="connsiteY37" fmla="*/ 2126485 h 2209564"/>
              <a:gd name="connsiteX38" fmla="*/ 1299289 w 1427049"/>
              <a:gd name="connsiteY38" fmla="*/ 2141327 h 2209564"/>
              <a:gd name="connsiteX39" fmla="*/ 1310288 w 1427049"/>
              <a:gd name="connsiteY39" fmla="*/ 2147297 h 2209564"/>
              <a:gd name="connsiteX40" fmla="*/ 1321232 w 1427049"/>
              <a:gd name="connsiteY40" fmla="*/ 2155581 h 2209564"/>
              <a:gd name="connsiteX41" fmla="*/ 1324648 w 1427049"/>
              <a:gd name="connsiteY41" fmla="*/ 2157303 h 2209564"/>
              <a:gd name="connsiteX42" fmla="*/ 1328666 w 1427049"/>
              <a:gd name="connsiteY42" fmla="*/ 2160160 h 2209564"/>
              <a:gd name="connsiteX43" fmla="*/ 1422278 w 1427049"/>
              <a:gd name="connsiteY43" fmla="*/ 2208083 h 2209564"/>
              <a:gd name="connsiteX44" fmla="*/ 1427049 w 1427049"/>
              <a:gd name="connsiteY44" fmla="*/ 2209564 h 2209564"/>
              <a:gd name="connsiteX45" fmla="*/ 136476 w 1427049"/>
              <a:gd name="connsiteY45" fmla="*/ 2209564 h 2209564"/>
              <a:gd name="connsiteX46" fmla="*/ 133918 w 1427049"/>
              <a:gd name="connsiteY46" fmla="*/ 2204253 h 2209564"/>
              <a:gd name="connsiteX47" fmla="*/ 0 w 1427049"/>
              <a:gd name="connsiteY47" fmla="*/ 1540937 h 2209564"/>
              <a:gd name="connsiteX48" fmla="*/ 891830 w 1427049"/>
              <a:gd name="connsiteY48" fmla="*/ 42505 h 220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427049" h="2209564">
                <a:moveTo>
                  <a:pt x="980064" y="0"/>
                </a:moveTo>
                <a:lnTo>
                  <a:pt x="980064" y="1540937"/>
                </a:lnTo>
                <a:lnTo>
                  <a:pt x="980064" y="1574188"/>
                </a:lnTo>
                <a:lnTo>
                  <a:pt x="981743" y="1574188"/>
                </a:lnTo>
                <a:lnTo>
                  <a:pt x="983802" y="1614967"/>
                </a:lnTo>
                <a:lnTo>
                  <a:pt x="985100" y="1623468"/>
                </a:lnTo>
                <a:lnTo>
                  <a:pt x="987498" y="1639179"/>
                </a:lnTo>
                <a:lnTo>
                  <a:pt x="988407" y="1651202"/>
                </a:lnTo>
                <a:lnTo>
                  <a:pt x="991146" y="1663082"/>
                </a:lnTo>
                <a:lnTo>
                  <a:pt x="994774" y="1686857"/>
                </a:lnTo>
                <a:lnTo>
                  <a:pt x="1001958" y="1710000"/>
                </a:lnTo>
                <a:lnTo>
                  <a:pt x="1006251" y="1728627"/>
                </a:lnTo>
                <a:lnTo>
                  <a:pt x="1010023" y="1747722"/>
                </a:lnTo>
                <a:lnTo>
                  <a:pt x="1011502" y="1751413"/>
                </a:lnTo>
                <a:lnTo>
                  <a:pt x="1012616" y="1756246"/>
                </a:lnTo>
                <a:lnTo>
                  <a:pt x="1030044" y="1800478"/>
                </a:lnTo>
                <a:lnTo>
                  <a:pt x="1035434" y="1817841"/>
                </a:lnTo>
                <a:lnTo>
                  <a:pt x="1036963" y="1822768"/>
                </a:lnTo>
                <a:lnTo>
                  <a:pt x="1043760" y="1835291"/>
                </a:lnTo>
                <a:lnTo>
                  <a:pt x="1051463" y="1854840"/>
                </a:lnTo>
                <a:lnTo>
                  <a:pt x="1056451" y="1863518"/>
                </a:lnTo>
                <a:lnTo>
                  <a:pt x="1059275" y="1870560"/>
                </a:lnTo>
                <a:lnTo>
                  <a:pt x="1072724" y="1891830"/>
                </a:lnTo>
                <a:lnTo>
                  <a:pt x="1103714" y="1945748"/>
                </a:lnTo>
                <a:lnTo>
                  <a:pt x="1103718" y="1945755"/>
                </a:lnTo>
                <a:lnTo>
                  <a:pt x="1103720" y="1945758"/>
                </a:lnTo>
                <a:lnTo>
                  <a:pt x="1103737" y="1945778"/>
                </a:lnTo>
                <a:lnTo>
                  <a:pt x="1119611" y="1965981"/>
                </a:lnTo>
                <a:lnTo>
                  <a:pt x="1129160" y="1981082"/>
                </a:lnTo>
                <a:lnTo>
                  <a:pt x="1145053" y="1998362"/>
                </a:lnTo>
                <a:lnTo>
                  <a:pt x="1168158" y="2027769"/>
                </a:lnTo>
                <a:lnTo>
                  <a:pt x="1183278" y="2042183"/>
                </a:lnTo>
                <a:lnTo>
                  <a:pt x="1192132" y="2052914"/>
                </a:lnTo>
                <a:lnTo>
                  <a:pt x="1204969" y="2063506"/>
                </a:lnTo>
                <a:lnTo>
                  <a:pt x="1217278" y="2076889"/>
                </a:lnTo>
                <a:lnTo>
                  <a:pt x="1228941" y="2085718"/>
                </a:lnTo>
                <a:lnTo>
                  <a:pt x="1243550" y="2099645"/>
                </a:lnTo>
                <a:lnTo>
                  <a:pt x="1281300" y="2126485"/>
                </a:lnTo>
                <a:lnTo>
                  <a:pt x="1299289" y="2141327"/>
                </a:lnTo>
                <a:lnTo>
                  <a:pt x="1310288" y="2147297"/>
                </a:lnTo>
                <a:lnTo>
                  <a:pt x="1321232" y="2155581"/>
                </a:lnTo>
                <a:lnTo>
                  <a:pt x="1324648" y="2157303"/>
                </a:lnTo>
                <a:lnTo>
                  <a:pt x="1328666" y="2160160"/>
                </a:lnTo>
                <a:cubicBezTo>
                  <a:pt x="1358522" y="2178301"/>
                  <a:pt x="1389795" y="2194344"/>
                  <a:pt x="1422278" y="2208083"/>
                </a:cubicBezTo>
                <a:lnTo>
                  <a:pt x="1427049" y="2209564"/>
                </a:lnTo>
                <a:lnTo>
                  <a:pt x="136476" y="2209564"/>
                </a:lnTo>
                <a:lnTo>
                  <a:pt x="133918" y="2204253"/>
                </a:lnTo>
                <a:cubicBezTo>
                  <a:pt x="47685" y="2000376"/>
                  <a:pt x="0" y="1776225"/>
                  <a:pt x="0" y="1540937"/>
                </a:cubicBezTo>
                <a:cubicBezTo>
                  <a:pt x="0" y="893894"/>
                  <a:pt x="360616" y="331078"/>
                  <a:pt x="891830" y="42505"/>
                </a:cubicBezTo>
                <a:close/>
              </a:path>
            </a:pathLst>
          </a:cu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576887" y="2868599"/>
            <a:ext cx="69399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900" dirty="0">
                <a:solidFill>
                  <a:schemeClr val="bg1"/>
                </a:solidFill>
                <a:latin typeface="Proxima Nova" charset="0"/>
                <a:ea typeface="Proxima Nova" charset="0"/>
                <a:cs typeface="Proxima Nova" charset="0"/>
              </a:rPr>
              <a:t>Performance Engineer &amp; Test Lead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511831" y="2159664"/>
            <a:ext cx="10081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900" dirty="0">
                <a:solidFill>
                  <a:schemeClr val="tx1">
                    <a:lumMod val="50000"/>
                  </a:schemeClr>
                </a:solidFill>
                <a:latin typeface="Proxima Nova" charset="0"/>
                <a:ea typeface="Proxima Nova" charset="0"/>
                <a:cs typeface="Proxima Nova" charset="0"/>
              </a:rPr>
              <a:t>Service / Platform </a:t>
            </a:r>
            <a:br>
              <a:rPr lang="en-US" sz="900" dirty="0">
                <a:solidFill>
                  <a:schemeClr val="tx1">
                    <a:lumMod val="50000"/>
                  </a:schemeClr>
                </a:solidFill>
                <a:latin typeface="Proxima Nova" charset="0"/>
                <a:ea typeface="Proxima Nova" charset="0"/>
                <a:cs typeface="Proxima Nova" charset="0"/>
              </a:rPr>
            </a:br>
            <a:r>
              <a:rPr lang="en-US" sz="900" dirty="0">
                <a:solidFill>
                  <a:schemeClr val="tx1">
                    <a:lumMod val="50000"/>
                  </a:schemeClr>
                </a:solidFill>
                <a:latin typeface="Proxima Nova" charset="0"/>
                <a:ea typeface="Proxima Nova" charset="0"/>
                <a:cs typeface="Proxima Nova" charset="0"/>
              </a:rPr>
              <a:t>Owner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956665" y="3956914"/>
            <a:ext cx="14013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900" dirty="0">
                <a:solidFill>
                  <a:schemeClr val="bg1"/>
                </a:solidFill>
                <a:latin typeface="Proxima Nova" charset="0"/>
                <a:ea typeface="Proxima Nova" charset="0"/>
                <a:cs typeface="Proxima Nova" charset="0"/>
              </a:rPr>
              <a:t>Release Management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409163" y="3170569"/>
            <a:ext cx="7239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900" dirty="0" smtClean="0">
                <a:solidFill>
                  <a:schemeClr val="bg1"/>
                </a:solidFill>
                <a:latin typeface="Proxima Nova" charset="0"/>
                <a:ea typeface="Proxima Nova" charset="0"/>
                <a:cs typeface="Proxima Nova" charset="0"/>
              </a:rPr>
              <a:t>Infrastructure / </a:t>
            </a:r>
            <a:r>
              <a:rPr lang="en-US" sz="900" dirty="0">
                <a:solidFill>
                  <a:schemeClr val="bg1"/>
                </a:solidFill>
                <a:latin typeface="Proxima Nova" charset="0"/>
                <a:ea typeface="Proxima Nova" charset="0"/>
                <a:cs typeface="Proxima Nova" charset="0"/>
              </a:rPr>
              <a:t>Operations</a:t>
            </a:r>
          </a:p>
        </p:txBody>
      </p:sp>
      <p:cxnSp>
        <p:nvCxnSpPr>
          <p:cNvPr id="92" name="Straight Arrow Connector 91"/>
          <p:cNvCxnSpPr>
            <a:endCxn id="29" idx="3"/>
          </p:cNvCxnSpPr>
          <p:nvPr/>
        </p:nvCxnSpPr>
        <p:spPr>
          <a:xfrm flipH="1">
            <a:off x="4280797" y="4099578"/>
            <a:ext cx="1619260" cy="563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/>
          <p:cNvSpPr/>
          <p:nvPr/>
        </p:nvSpPr>
        <p:spPr>
          <a:xfrm>
            <a:off x="5721893" y="1896035"/>
            <a:ext cx="245974" cy="24597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#2</a:t>
            </a:r>
          </a:p>
        </p:txBody>
      </p:sp>
      <p:cxnSp>
        <p:nvCxnSpPr>
          <p:cNvPr id="95" name="Straight Arrow Connector 94"/>
          <p:cNvCxnSpPr>
            <a:endCxn id="48" idx="3"/>
          </p:cNvCxnSpPr>
          <p:nvPr/>
        </p:nvCxnSpPr>
        <p:spPr>
          <a:xfrm flipH="1" flipV="1">
            <a:off x="4280797" y="2203840"/>
            <a:ext cx="167804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96" y="4351382"/>
            <a:ext cx="1645919" cy="254913"/>
          </a:xfrm>
          <a:prstGeom prst="rect">
            <a:avLst/>
          </a:prstGeom>
        </p:spPr>
      </p:pic>
      <p:sp>
        <p:nvSpPr>
          <p:cNvPr id="98" name="TextBox 97"/>
          <p:cNvSpPr txBox="1"/>
          <p:nvPr/>
        </p:nvSpPr>
        <p:spPr>
          <a:xfrm>
            <a:off x="4293870" y="2004728"/>
            <a:ext cx="12747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a typeface="Proxima Nova" charset="0"/>
                <a:cs typeface="Proxima Nova" charset="0"/>
              </a:rPr>
              <a:t>Steering &amp; Governance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41640" y="1260888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52" name="TextBox 51"/>
          <p:cNvSpPr txBox="1"/>
          <p:nvPr/>
        </p:nvSpPr>
        <p:spPr>
          <a:xfrm>
            <a:off x="341640" y="1489488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60" name="TextBox 59"/>
          <p:cNvSpPr txBox="1"/>
          <p:nvPr/>
        </p:nvSpPr>
        <p:spPr>
          <a:xfrm>
            <a:off x="341640" y="1706182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62" name="TextBox 61"/>
          <p:cNvSpPr txBox="1"/>
          <p:nvPr/>
        </p:nvSpPr>
        <p:spPr>
          <a:xfrm>
            <a:off x="341640" y="1946688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64" name="TextBox 63"/>
          <p:cNvSpPr txBox="1"/>
          <p:nvPr/>
        </p:nvSpPr>
        <p:spPr>
          <a:xfrm>
            <a:off x="341640" y="2175288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65" name="TextBox 64"/>
          <p:cNvSpPr txBox="1"/>
          <p:nvPr/>
        </p:nvSpPr>
        <p:spPr>
          <a:xfrm>
            <a:off x="341640" y="2537238"/>
            <a:ext cx="689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50" dirty="0">
                <a:cs typeface="Arial" panose="020B0604020202020204" pitchFamily="34" charset="0"/>
              </a:rPr>
              <a:t>#</a:t>
            </a:r>
            <a:endParaRPr lang="en-US" sz="1050" dirty="0"/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304800" y="318057"/>
            <a:ext cx="8394223" cy="57522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 smtClean="0"/>
              <a:t>PS - </a:t>
            </a:r>
            <a:r>
              <a:rPr lang="sv-SE" sz="2800" dirty="0" err="1" smtClean="0"/>
              <a:t>Performance</a:t>
            </a:r>
            <a:r>
              <a:rPr lang="sv-SE" sz="2800" dirty="0" smtClean="0"/>
              <a:t> Center </a:t>
            </a:r>
            <a:r>
              <a:rPr lang="sv-SE" sz="2800" dirty="0" err="1" smtClean="0"/>
              <a:t>of</a:t>
            </a:r>
            <a:r>
              <a:rPr lang="sv-SE" sz="2800" dirty="0" smtClean="0"/>
              <a:t> </a:t>
            </a:r>
            <a:r>
              <a:rPr lang="sv-SE" sz="2800" dirty="0" err="1" smtClean="0"/>
              <a:t>Excellenc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15664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ruta 48"/>
          <p:cNvSpPr txBox="1"/>
          <p:nvPr/>
        </p:nvSpPr>
        <p:spPr>
          <a:xfrm>
            <a:off x="1818083" y="4655727"/>
            <a:ext cx="5778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800" dirty="0" err="1"/>
              <a:t>Apica</a:t>
            </a:r>
            <a:r>
              <a:rPr lang="sv-SE" sz="1800" dirty="0"/>
              <a:t> – Services</a:t>
            </a: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317977" y="238125"/>
            <a:ext cx="8394223" cy="57522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sz="2800" dirty="0" smtClean="0"/>
              <a:t>PS – Performance Test </a:t>
            </a:r>
          </a:p>
          <a:p>
            <a:r>
              <a:rPr lang="en-US" sz="2800" dirty="0" smtClean="0"/>
              <a:t>Strategy</a:t>
            </a:r>
          </a:p>
          <a:p>
            <a:endParaRPr lang="en-US" dirty="0"/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134720"/>
            <a:ext cx="3481925" cy="450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63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2260" name="Subtitle 2259"/>
          <p:cNvSpPr>
            <a:spLocks noGrp="1"/>
          </p:cNvSpPr>
          <p:nvPr>
            <p:ph type="subTitle" idx="1"/>
          </p:nvPr>
        </p:nvSpPr>
        <p:spPr>
          <a:xfrm>
            <a:off x="1752600" y="1885950"/>
            <a:ext cx="4914601" cy="659226"/>
          </a:xfrm>
        </p:spPr>
        <p:txBody>
          <a:bodyPr/>
          <a:lstStyle/>
          <a:p>
            <a:pPr algn="ctr">
              <a:defRPr/>
            </a:pP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sional Services </a:t>
            </a:r>
          </a:p>
          <a:p>
            <a:pPr algn="ctr">
              <a:defRPr/>
            </a:pPr>
            <a:endParaRPr lang="en-GB" sz="28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endParaRPr lang="en-GB" sz="2800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rick Moser</a:t>
            </a:r>
          </a:p>
          <a:p>
            <a:pPr algn="ctr">
              <a:defRPr/>
            </a:pPr>
            <a:endParaRPr lang="en-GB" sz="2800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sz="16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3"/>
              </a:rPr>
              <a:t>Email: patrick.moser@apicasystem.com</a:t>
            </a:r>
            <a:endParaRPr lang="en-GB" sz="16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sz="16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bile: +46-730-255077</a:t>
            </a:r>
            <a: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GB" sz="28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GB" sz="28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2057400" y="1207089"/>
            <a:ext cx="4889201" cy="533400"/>
          </a:xfrm>
        </p:spPr>
        <p:txBody>
          <a:bodyPr anchor="t"/>
          <a:lstStyle/>
          <a:p>
            <a:r>
              <a:rPr lang="en-US" sz="2800" dirty="0" smtClean="0"/>
              <a:t>		</a:t>
            </a:r>
            <a:r>
              <a:rPr lang="en-US" dirty="0" smtClean="0"/>
              <a:t>Apica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5585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Who</a:t>
            </a:r>
            <a:r>
              <a:rPr lang="sv-SE" dirty="0" smtClean="0"/>
              <a:t> </a:t>
            </a:r>
            <a:r>
              <a:rPr lang="sv-SE" dirty="0" err="1" smtClean="0"/>
              <a:t>am</a:t>
            </a:r>
            <a:r>
              <a:rPr lang="sv-SE" dirty="0" smtClean="0"/>
              <a:t> I?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sz="1200" dirty="0" err="1" smtClean="0"/>
              <a:t>Name</a:t>
            </a:r>
            <a:r>
              <a:rPr lang="sv-SE" sz="1200" dirty="0" smtClean="0"/>
              <a:t>: Patrick </a:t>
            </a:r>
            <a:r>
              <a:rPr lang="sv-SE" sz="1200" dirty="0" err="1" smtClean="0"/>
              <a:t>Moser</a:t>
            </a:r>
            <a:endParaRPr lang="sv-SE" sz="1200" dirty="0" smtClean="0"/>
          </a:p>
          <a:p>
            <a:pPr>
              <a:buFont typeface="Arial" charset="0"/>
              <a:buChar char="•"/>
            </a:pPr>
            <a:r>
              <a:rPr lang="sv-SE" sz="1200" dirty="0" err="1"/>
              <a:t>Joined</a:t>
            </a:r>
            <a:r>
              <a:rPr lang="sv-SE" sz="1200" dirty="0"/>
              <a:t> </a:t>
            </a:r>
            <a:r>
              <a:rPr lang="sv-SE" sz="1200" dirty="0" smtClean="0"/>
              <a:t>Apica a </a:t>
            </a:r>
            <a:r>
              <a:rPr lang="sv-SE" sz="1200" dirty="0" err="1" smtClean="0"/>
              <a:t>year</a:t>
            </a:r>
            <a:r>
              <a:rPr lang="sv-SE" sz="1200" dirty="0" smtClean="0"/>
              <a:t> </a:t>
            </a:r>
            <a:r>
              <a:rPr lang="sv-SE" sz="1200" dirty="0" err="1" smtClean="0"/>
              <a:t>ago</a:t>
            </a:r>
            <a:r>
              <a:rPr lang="sv-SE" sz="1200" dirty="0" smtClean="0"/>
              <a:t> in </a:t>
            </a:r>
            <a:r>
              <a:rPr lang="sv-SE" sz="1200" dirty="0" err="1" smtClean="0"/>
              <a:t>January</a:t>
            </a:r>
            <a:r>
              <a:rPr lang="sv-SE" sz="1200" dirty="0" smtClean="0"/>
              <a:t>, </a:t>
            </a:r>
            <a:r>
              <a:rPr lang="sv-SE" sz="1200" dirty="0"/>
              <a:t>2016 </a:t>
            </a:r>
          </a:p>
          <a:p>
            <a:pPr>
              <a:buFont typeface="Arial" charset="0"/>
              <a:buChar char="•"/>
            </a:pPr>
            <a:r>
              <a:rPr lang="sv-SE" sz="1200" dirty="0" err="1" smtClean="0"/>
              <a:t>Head</a:t>
            </a:r>
            <a:r>
              <a:rPr lang="sv-SE" sz="1200" dirty="0" smtClean="0"/>
              <a:t> </a:t>
            </a:r>
            <a:r>
              <a:rPr lang="sv-SE" sz="1200" dirty="0" err="1" smtClean="0"/>
              <a:t>of</a:t>
            </a:r>
            <a:r>
              <a:rPr lang="sv-SE" sz="1200" dirty="0" smtClean="0"/>
              <a:t> Apica </a:t>
            </a:r>
            <a:r>
              <a:rPr lang="sv-SE" sz="1200" dirty="0" err="1" smtClean="0"/>
              <a:t>Professional</a:t>
            </a:r>
            <a:r>
              <a:rPr lang="sv-SE" sz="1200" dirty="0" smtClean="0"/>
              <a:t> Services </a:t>
            </a:r>
            <a:r>
              <a:rPr lang="sv-SE" sz="1200" dirty="0" err="1" smtClean="0"/>
              <a:t>Organization</a:t>
            </a:r>
            <a:endParaRPr lang="sv-SE" sz="1200" dirty="0" smtClean="0"/>
          </a:p>
          <a:p>
            <a:pPr>
              <a:buFont typeface="Arial" charset="0"/>
              <a:buChar char="•"/>
            </a:pPr>
            <a:r>
              <a:rPr lang="sv-SE" sz="1200" dirty="0" smtClean="0"/>
              <a:t>Age: 52; </a:t>
            </a:r>
            <a:r>
              <a:rPr lang="sv-SE" sz="1200" dirty="0" err="1" smtClean="0"/>
              <a:t>Married</a:t>
            </a:r>
            <a:r>
              <a:rPr lang="sv-SE" sz="1200" dirty="0" smtClean="0"/>
              <a:t>, 2 </a:t>
            </a:r>
            <a:r>
              <a:rPr lang="sv-SE" sz="1200" dirty="0" err="1" smtClean="0"/>
              <a:t>daughters</a:t>
            </a:r>
            <a:r>
              <a:rPr lang="sv-SE" sz="1200" dirty="0" smtClean="0"/>
              <a:t> </a:t>
            </a:r>
          </a:p>
          <a:p>
            <a:pPr>
              <a:buFont typeface="Arial" charset="0"/>
              <a:buChar char="•"/>
            </a:pPr>
            <a:r>
              <a:rPr lang="sv-SE" sz="1200" dirty="0" smtClean="0"/>
              <a:t>On my </a:t>
            </a:r>
            <a:r>
              <a:rPr lang="sv-SE" sz="1200" dirty="0" err="1" smtClean="0"/>
              <a:t>free</a:t>
            </a:r>
            <a:r>
              <a:rPr lang="sv-SE" sz="1200" dirty="0" smtClean="0"/>
              <a:t> </a:t>
            </a:r>
            <a:r>
              <a:rPr lang="sv-SE" sz="1200" dirty="0" err="1" smtClean="0"/>
              <a:t>time</a:t>
            </a:r>
            <a:r>
              <a:rPr lang="sv-SE" sz="1200" dirty="0" smtClean="0"/>
              <a:t>: </a:t>
            </a:r>
            <a:r>
              <a:rPr lang="sv-SE" sz="1200" dirty="0" err="1" smtClean="0"/>
              <a:t>runner</a:t>
            </a:r>
            <a:r>
              <a:rPr lang="sv-SE" sz="1200" dirty="0" smtClean="0"/>
              <a:t>, </a:t>
            </a:r>
            <a:r>
              <a:rPr lang="sv-SE" sz="1200" dirty="0" err="1" smtClean="0"/>
              <a:t>photographer</a:t>
            </a:r>
            <a:r>
              <a:rPr lang="sv-SE" sz="1200" dirty="0"/>
              <a:t> </a:t>
            </a:r>
            <a:r>
              <a:rPr lang="sv-SE" sz="1200" dirty="0" smtClean="0"/>
              <a:t>and </a:t>
            </a:r>
            <a:r>
              <a:rPr lang="sv-SE" sz="1200" dirty="0" err="1" smtClean="0"/>
              <a:t>chess</a:t>
            </a:r>
            <a:r>
              <a:rPr lang="sv-SE" sz="1200" dirty="0" smtClean="0"/>
              <a:t> </a:t>
            </a:r>
            <a:r>
              <a:rPr lang="sv-SE" sz="1200" dirty="0" err="1" smtClean="0"/>
              <a:t>player</a:t>
            </a:r>
            <a:endParaRPr lang="sv-SE" sz="1200" dirty="0" smtClean="0"/>
          </a:p>
          <a:p>
            <a:pPr>
              <a:buFont typeface="Arial" charset="0"/>
              <a:buChar char="•"/>
            </a:pPr>
            <a:r>
              <a:rPr lang="sv-SE" sz="1200" dirty="0" err="1" smtClean="0"/>
              <a:t>Education</a:t>
            </a:r>
            <a:r>
              <a:rPr lang="sv-SE" sz="1200" dirty="0" smtClean="0"/>
              <a:t>: BA in Computer Science</a:t>
            </a:r>
          </a:p>
          <a:p>
            <a:pPr>
              <a:buFont typeface="Arial" charset="0"/>
              <a:buChar char="•"/>
            </a:pPr>
            <a:r>
              <a:rPr lang="sv-SE" sz="1200" dirty="0" err="1" smtClean="0"/>
              <a:t>Work</a:t>
            </a:r>
            <a:r>
              <a:rPr lang="sv-SE" sz="1200" dirty="0" smtClean="0"/>
              <a:t> </a:t>
            </a:r>
            <a:r>
              <a:rPr lang="sv-SE" sz="1200" dirty="0" err="1" smtClean="0"/>
              <a:t>experience</a:t>
            </a:r>
            <a:r>
              <a:rPr lang="sv-SE" sz="1200" dirty="0" smtClean="0"/>
              <a:t>: 30 </a:t>
            </a:r>
            <a:r>
              <a:rPr lang="sv-SE" sz="1200" dirty="0" err="1" smtClean="0"/>
              <a:t>years</a:t>
            </a:r>
            <a:r>
              <a:rPr lang="sv-SE" sz="1200" dirty="0" smtClean="0"/>
              <a:t> in IT, </a:t>
            </a:r>
            <a:r>
              <a:rPr lang="sv-SE" sz="1200" dirty="0" smtClean="0"/>
              <a:t>SDLC and </a:t>
            </a:r>
            <a:r>
              <a:rPr lang="sv-SE" sz="1200" dirty="0" err="1" smtClean="0"/>
              <a:t>consultancy</a:t>
            </a:r>
            <a:r>
              <a:rPr lang="sv-SE" sz="1200" dirty="0" smtClean="0"/>
              <a:t> services</a:t>
            </a:r>
            <a:endParaRPr lang="sv-SE" sz="1200" dirty="0" smtClean="0"/>
          </a:p>
          <a:p>
            <a:pPr>
              <a:buFont typeface="Arial" charset="0"/>
              <a:buChar char="•"/>
            </a:pPr>
            <a:r>
              <a:rPr lang="sv-SE" sz="1200" dirty="0" smtClean="0"/>
              <a:t>20 </a:t>
            </a:r>
            <a:r>
              <a:rPr lang="sv-SE" sz="1200" dirty="0" err="1" smtClean="0"/>
              <a:t>years</a:t>
            </a:r>
            <a:r>
              <a:rPr lang="sv-SE" sz="1200" dirty="0" smtClean="0"/>
              <a:t> </a:t>
            </a:r>
            <a:r>
              <a:rPr lang="sv-SE" sz="1200" dirty="0" err="1" smtClean="0"/>
              <a:t>experience</a:t>
            </a:r>
            <a:r>
              <a:rPr lang="sv-SE" sz="1200" dirty="0" smtClean="0"/>
              <a:t> </a:t>
            </a:r>
            <a:r>
              <a:rPr lang="sv-SE" sz="1200" dirty="0" err="1" smtClean="0"/>
              <a:t>with</a:t>
            </a:r>
            <a:r>
              <a:rPr lang="sv-SE" sz="1200" dirty="0" smtClean="0"/>
              <a:t> Test </a:t>
            </a:r>
            <a:r>
              <a:rPr lang="sv-SE" sz="1200" dirty="0" smtClean="0"/>
              <a:t>&amp; </a:t>
            </a:r>
            <a:r>
              <a:rPr lang="sv-SE" sz="1200" dirty="0" smtClean="0"/>
              <a:t>QA</a:t>
            </a:r>
            <a:endParaRPr lang="sv-SE" sz="1200" dirty="0" smtClean="0"/>
          </a:p>
          <a:p>
            <a:pPr>
              <a:buFont typeface="Arial" charset="0"/>
              <a:buChar char="•"/>
            </a:pPr>
            <a:r>
              <a:rPr lang="sv-SE" sz="1200" dirty="0" err="1" smtClean="0"/>
              <a:t>Work</a:t>
            </a:r>
            <a:r>
              <a:rPr lang="sv-SE" sz="1200" dirty="0" smtClean="0"/>
              <a:t> </a:t>
            </a:r>
            <a:r>
              <a:rPr lang="sv-SE" sz="1200" dirty="0" err="1" smtClean="0"/>
              <a:t>experience</a:t>
            </a:r>
            <a:r>
              <a:rPr lang="sv-SE" sz="1200" dirty="0" smtClean="0"/>
              <a:t> from multi international </a:t>
            </a:r>
            <a:r>
              <a:rPr lang="sv-SE" sz="1200" dirty="0" err="1" smtClean="0"/>
              <a:t>companies</a:t>
            </a:r>
            <a:r>
              <a:rPr lang="sv-SE" sz="1200" dirty="0" smtClean="0"/>
              <a:t>:</a:t>
            </a:r>
          </a:p>
          <a:p>
            <a:pPr lvl="1">
              <a:buFont typeface="Arial" charset="0"/>
              <a:buChar char="•"/>
            </a:pPr>
            <a:r>
              <a:rPr lang="sv-SE" sz="1050" dirty="0" smtClean="0"/>
              <a:t>Ericsson (Telecom), </a:t>
            </a:r>
            <a:r>
              <a:rPr lang="sv-SE" sz="1050" dirty="0" err="1" smtClean="0"/>
              <a:t>Sybase</a:t>
            </a:r>
            <a:r>
              <a:rPr lang="sv-SE" sz="1050" dirty="0" smtClean="0"/>
              <a:t> (DB), Mercury </a:t>
            </a:r>
            <a:r>
              <a:rPr lang="sv-SE" sz="1050" dirty="0" err="1" smtClean="0"/>
              <a:t>Interactive</a:t>
            </a:r>
            <a:r>
              <a:rPr lang="sv-SE" sz="1050" dirty="0" smtClean="0"/>
              <a:t> (Test), SQS (Test &amp; QA </a:t>
            </a:r>
            <a:r>
              <a:rPr lang="sv-SE" sz="1050" dirty="0" err="1" smtClean="0"/>
              <a:t>consultancy</a:t>
            </a:r>
            <a:r>
              <a:rPr lang="sv-SE" sz="1050" dirty="0" smtClean="0"/>
              <a:t>) </a:t>
            </a:r>
          </a:p>
          <a:p>
            <a:pPr>
              <a:buFont typeface="Arial" charset="0"/>
              <a:buChar char="•"/>
            </a:pPr>
            <a:r>
              <a:rPr lang="sv-SE" sz="1200" dirty="0" smtClean="0"/>
              <a:t>Part </a:t>
            </a:r>
            <a:r>
              <a:rPr lang="sv-SE" sz="1200" dirty="0" err="1" smtClean="0"/>
              <a:t>of</a:t>
            </a:r>
            <a:r>
              <a:rPr lang="sv-SE" sz="1200" dirty="0" smtClean="0"/>
              <a:t> a startup </a:t>
            </a:r>
            <a:r>
              <a:rPr lang="sv-SE" sz="1200" dirty="0" err="1" smtClean="0"/>
              <a:t>company</a:t>
            </a:r>
            <a:r>
              <a:rPr lang="sv-SE" sz="1200" dirty="0" smtClean="0"/>
              <a:t> - </a:t>
            </a:r>
            <a:r>
              <a:rPr lang="sv-SE" sz="1200" dirty="0" err="1" smtClean="0"/>
              <a:t>Validate</a:t>
            </a:r>
            <a:endParaRPr lang="sv-SE" sz="1200" dirty="0" smtClean="0"/>
          </a:p>
          <a:p>
            <a:pPr lvl="1">
              <a:buFont typeface="Arial" charset="0"/>
              <a:buChar char="•"/>
            </a:pPr>
            <a:r>
              <a:rPr lang="sv-SE" sz="1000" dirty="0"/>
              <a:t>2004-2008 </a:t>
            </a:r>
            <a:r>
              <a:rPr lang="sv-SE" sz="1000" dirty="0" smtClean="0"/>
              <a:t>(</a:t>
            </a:r>
            <a:r>
              <a:rPr lang="sv-SE" sz="1000" dirty="0" err="1" smtClean="0"/>
              <a:t>staff</a:t>
            </a:r>
            <a:r>
              <a:rPr lang="sv-SE" sz="1000" dirty="0" smtClean="0"/>
              <a:t> </a:t>
            </a:r>
            <a:r>
              <a:rPr lang="sv-SE" sz="1000" dirty="0" err="1" smtClean="0"/>
              <a:t>growth</a:t>
            </a:r>
            <a:r>
              <a:rPr lang="sv-SE" sz="1000" dirty="0" smtClean="0"/>
              <a:t> </a:t>
            </a:r>
            <a:r>
              <a:rPr lang="sv-SE" sz="1000" dirty="0"/>
              <a:t>from 3 to 70)</a:t>
            </a:r>
          </a:p>
          <a:p>
            <a:pPr lvl="1">
              <a:buFont typeface="Arial" charset="0"/>
              <a:buChar char="•"/>
            </a:pPr>
            <a:r>
              <a:rPr lang="sv-SE" sz="1000" dirty="0" smtClean="0"/>
              <a:t>Company sold </a:t>
            </a:r>
            <a:r>
              <a:rPr lang="sv-SE" sz="1000" dirty="0" err="1" smtClean="0"/>
              <a:t>after</a:t>
            </a:r>
            <a:r>
              <a:rPr lang="sv-SE" sz="1000" dirty="0" smtClean="0"/>
              <a:t> </a:t>
            </a:r>
            <a:r>
              <a:rPr lang="sv-SE" sz="1000" dirty="0" err="1" smtClean="0"/>
              <a:t>only</a:t>
            </a:r>
            <a:r>
              <a:rPr lang="sv-SE" sz="1000" dirty="0" smtClean="0"/>
              <a:t> 4 </a:t>
            </a:r>
            <a:r>
              <a:rPr lang="sv-SE" sz="1000" dirty="0" err="1" smtClean="0"/>
              <a:t>years</a:t>
            </a:r>
            <a:r>
              <a:rPr lang="sv-SE" sz="1000" dirty="0" smtClean="0"/>
              <a:t> to SQS</a:t>
            </a:r>
            <a:endParaRPr lang="sv-SE" sz="1000" dirty="0" smtClean="0"/>
          </a:p>
        </p:txBody>
      </p:sp>
      <p:pic>
        <p:nvPicPr>
          <p:cNvPr id="8194" name="Picture 2" descr="ttps://www.apicasystem.com/nyheter/wp-content/uploads/sites/4/2016/02/patrick-mos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23850"/>
            <a:ext cx="927611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639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77" y="238125"/>
            <a:ext cx="8394223" cy="575228"/>
          </a:xfrm>
        </p:spPr>
        <p:txBody>
          <a:bodyPr/>
          <a:lstStyle/>
          <a:p>
            <a:r>
              <a:rPr lang="en-US" dirty="0" smtClean="0"/>
              <a:t>PS – </a:t>
            </a:r>
            <a:r>
              <a:rPr lang="en-US" dirty="0" err="1" smtClean="0"/>
              <a:t>Organisation</a:t>
            </a:r>
            <a:r>
              <a:rPr lang="en-US" dirty="0" smtClean="0"/>
              <a:t> (SE)</a:t>
            </a:r>
            <a:endParaRPr lang="en-US" dirty="0"/>
          </a:p>
        </p:txBody>
      </p:sp>
      <p:sp>
        <p:nvSpPr>
          <p:cNvPr id="3" name="AutoShape 6" descr="http://it24.idg.se/polopoly_fs/1.346088.1287038140%21imageUploader/2647827474.gif"/>
          <p:cNvSpPr>
            <a:spLocks noChangeAspect="1" noChangeArrowheads="1"/>
          </p:cNvSpPr>
          <p:nvPr/>
        </p:nvSpPr>
        <p:spPr bwMode="auto">
          <a:xfrm>
            <a:off x="0" y="0"/>
            <a:ext cx="1464635" cy="188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AutoShape 2" descr="http://it24.idg.se/polopoly_fs/1.562265.1400769483%21imageUploader/1863001382.jpg"/>
          <p:cNvSpPr>
            <a:spLocks noChangeAspect="1" noChangeArrowheads="1"/>
          </p:cNvSpPr>
          <p:nvPr/>
        </p:nvSpPr>
        <p:spPr bwMode="auto">
          <a:xfrm>
            <a:off x="0" y="0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8" name="Content Placeholder 6"/>
          <p:cNvSpPr>
            <a:spLocks noGrp="1"/>
          </p:cNvSpPr>
          <p:nvPr>
            <p:ph idx="1"/>
          </p:nvPr>
        </p:nvSpPr>
        <p:spPr>
          <a:xfrm>
            <a:off x="304800" y="803870"/>
            <a:ext cx="5621365" cy="3215680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Thomas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Wiik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Principal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Abdiqani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Hassan (Senior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Carl 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Ericsson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(PE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)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Johan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Torneheim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Senior PE (Test lead)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Henrik 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Caesar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(Senior PE/Test lead) </a:t>
            </a:r>
            <a:endParaRPr lang="en-US" sz="1050" dirty="0">
              <a:solidFill>
                <a:schemeClr val="tx1">
                  <a:lumMod val="50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Per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Andersson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PE)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Mikael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Thinsz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Test lead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Fredrik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Söderbaum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(PE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)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Niclas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Tollgård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IT Architect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Stefan 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Johnson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(Senior TL/Agile Coach) </a:t>
            </a:r>
            <a:endParaRPr lang="en-US" sz="1050" dirty="0">
              <a:solidFill>
                <a:schemeClr val="tx1">
                  <a:lumMod val="50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Johnny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Huhtala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(Junior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Patrick Moser (PS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Manager)</a:t>
            </a:r>
            <a:endParaRPr lang="en-US" sz="1050" dirty="0">
              <a:solidFill>
                <a:schemeClr val="tx1">
                  <a:lumMod val="50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1700" dirty="0"/>
          </a:p>
          <a:p>
            <a:pPr marL="457200" indent="-457200">
              <a:buFont typeface="+mj-lt"/>
              <a:buAutoNum type="arabicPeriod"/>
            </a:pPr>
            <a:endParaRPr lang="en-US" sz="1700" dirty="0" smtClean="0"/>
          </a:p>
          <a:p>
            <a:pPr marL="457200" indent="-457200">
              <a:buFont typeface="+mj-lt"/>
              <a:buAutoNum type="arabicPeriod"/>
            </a:pPr>
            <a:endParaRPr lang="en-US" sz="1900" dirty="0"/>
          </a:p>
          <a:p>
            <a:endParaRPr lang="en-US" sz="1900" dirty="0"/>
          </a:p>
          <a:p>
            <a:endParaRPr lang="en-US" sz="2000" dirty="0"/>
          </a:p>
        </p:txBody>
      </p:sp>
      <p:sp>
        <p:nvSpPr>
          <p:cNvPr id="19" name="Content Placeholder 6"/>
          <p:cNvSpPr txBox="1">
            <a:spLocks/>
          </p:cNvSpPr>
          <p:nvPr/>
        </p:nvSpPr>
        <p:spPr>
          <a:xfrm>
            <a:off x="5926165" y="391414"/>
            <a:ext cx="3200400" cy="3953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Franklin Gothic Book" panose="020B05030201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71450" algn="l" defTabSz="582771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5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Open Sans" panose="020B0606030504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sv-SE" sz="1600" b="1" dirty="0" err="1" smtClean="0"/>
              <a:t>Some</a:t>
            </a:r>
            <a:r>
              <a:rPr lang="sv-SE" sz="1600" b="1" dirty="0" smtClean="0"/>
              <a:t> </a:t>
            </a:r>
            <a:r>
              <a:rPr lang="sv-SE" sz="1600" b="1" dirty="0" err="1" smtClean="0"/>
              <a:t>bullets</a:t>
            </a:r>
            <a:r>
              <a:rPr lang="sv-SE" sz="1600" b="1" dirty="0" smtClean="0"/>
              <a:t> </a:t>
            </a:r>
            <a:r>
              <a:rPr lang="sv-SE" sz="1600" b="1" dirty="0" err="1" smtClean="0"/>
              <a:t>about</a:t>
            </a:r>
            <a:r>
              <a:rPr lang="sv-SE" sz="1600" b="1" dirty="0" smtClean="0"/>
              <a:t> PS</a:t>
            </a:r>
            <a:r>
              <a:rPr lang="is-IS" sz="1600" b="1" dirty="0" smtClean="0"/>
              <a:t>…</a:t>
            </a:r>
            <a:endParaRPr lang="en-US" sz="1600" b="1" dirty="0"/>
          </a:p>
          <a:p>
            <a:r>
              <a:rPr lang="en-US" sz="1100" dirty="0" smtClean="0"/>
              <a:t>Staff growth </a:t>
            </a:r>
          </a:p>
          <a:p>
            <a:pPr lvl="1"/>
            <a:r>
              <a:rPr lang="en-US" sz="700" dirty="0" smtClean="0"/>
              <a:t>Growth </a:t>
            </a:r>
            <a:r>
              <a:rPr lang="en-US" sz="700" dirty="0" smtClean="0"/>
              <a:t>by 7 people in 2016</a:t>
            </a:r>
          </a:p>
          <a:p>
            <a:r>
              <a:rPr lang="en-US" sz="1100" dirty="0" smtClean="0"/>
              <a:t>Roles within </a:t>
            </a:r>
            <a:r>
              <a:rPr lang="en-US" sz="1100" dirty="0" smtClean="0"/>
              <a:t>PS</a:t>
            </a:r>
            <a:endParaRPr lang="en-US" sz="1100" dirty="0" smtClean="0"/>
          </a:p>
          <a:p>
            <a:pPr lvl="1"/>
            <a:r>
              <a:rPr lang="en-US" sz="700" dirty="0" smtClean="0"/>
              <a:t>Performance Engineers (67%)</a:t>
            </a:r>
          </a:p>
          <a:p>
            <a:pPr lvl="1"/>
            <a:r>
              <a:rPr lang="en-US" sz="700" dirty="0" smtClean="0"/>
              <a:t>Test Leads (25%)</a:t>
            </a:r>
          </a:p>
          <a:p>
            <a:r>
              <a:rPr lang="en-US" sz="1100" dirty="0" smtClean="0"/>
              <a:t>Number of projects</a:t>
            </a:r>
          </a:p>
          <a:p>
            <a:pPr lvl="1"/>
            <a:r>
              <a:rPr lang="en-US" sz="700" dirty="0" smtClean="0"/>
              <a:t>85+ </a:t>
            </a:r>
            <a:r>
              <a:rPr lang="en-US" sz="700" dirty="0"/>
              <a:t>projects delivered YTD </a:t>
            </a:r>
            <a:br>
              <a:rPr lang="en-US" sz="700" dirty="0"/>
            </a:br>
            <a:r>
              <a:rPr lang="en-US" sz="700" dirty="0"/>
              <a:t>(Load test &amp; Synthetic monitoring)</a:t>
            </a:r>
          </a:p>
          <a:p>
            <a:r>
              <a:rPr lang="en-US" sz="1100" dirty="0"/>
              <a:t>Peak </a:t>
            </a:r>
            <a:r>
              <a:rPr lang="en-US" sz="1100" dirty="0" smtClean="0"/>
              <a:t>periods</a:t>
            </a:r>
          </a:p>
          <a:p>
            <a:pPr lvl="1"/>
            <a:r>
              <a:rPr lang="en-US" sz="700" dirty="0" smtClean="0"/>
              <a:t>Peak periods are May-June </a:t>
            </a:r>
            <a:r>
              <a:rPr lang="en-US" sz="700" dirty="0"/>
              <a:t>&amp; Oct-Nov</a:t>
            </a:r>
          </a:p>
          <a:p>
            <a:r>
              <a:rPr lang="en-US" sz="1100" dirty="0"/>
              <a:t>Utilization </a:t>
            </a:r>
            <a:r>
              <a:rPr lang="en-US" sz="1100" dirty="0" smtClean="0"/>
              <a:t>rate</a:t>
            </a:r>
          </a:p>
          <a:p>
            <a:pPr lvl="1"/>
            <a:r>
              <a:rPr lang="en-US" sz="700" dirty="0" smtClean="0"/>
              <a:t>Average of 75%</a:t>
            </a:r>
          </a:p>
          <a:p>
            <a:pPr lvl="1"/>
            <a:r>
              <a:rPr lang="en-US" sz="700" dirty="0" smtClean="0"/>
              <a:t>Low </a:t>
            </a:r>
            <a:r>
              <a:rPr lang="en-US" sz="700" dirty="0" err="1" smtClean="0"/>
              <a:t>utliization</a:t>
            </a:r>
            <a:r>
              <a:rPr lang="en-US" sz="700" dirty="0" smtClean="0"/>
              <a:t> in </a:t>
            </a:r>
            <a:r>
              <a:rPr lang="en-US" sz="700" dirty="0" err="1" smtClean="0"/>
              <a:t>january</a:t>
            </a:r>
            <a:r>
              <a:rPr lang="en-US" sz="700" dirty="0" smtClean="0"/>
              <a:t> 2016 &amp; 2017</a:t>
            </a:r>
            <a:endParaRPr lang="en-US" sz="700" dirty="0"/>
          </a:p>
          <a:p>
            <a:r>
              <a:rPr lang="en-US" sz="1100" dirty="0" smtClean="0"/>
              <a:t>Average age</a:t>
            </a:r>
          </a:p>
          <a:p>
            <a:pPr lvl="1"/>
            <a:r>
              <a:rPr lang="en-US" sz="700" dirty="0" smtClean="0"/>
              <a:t>37,5 years old</a:t>
            </a:r>
            <a:endParaRPr lang="en-US" sz="700" dirty="0"/>
          </a:p>
          <a:p>
            <a:endParaRPr lang="en-US" sz="1200" dirty="0" smtClean="0"/>
          </a:p>
          <a:p>
            <a:pPr lvl="1"/>
            <a:endParaRPr lang="en-US" sz="800" dirty="0"/>
          </a:p>
          <a:p>
            <a:endParaRPr lang="en-US" sz="3200" dirty="0"/>
          </a:p>
          <a:p>
            <a:endParaRPr lang="en-US" sz="2000" b="1" dirty="0"/>
          </a:p>
        </p:txBody>
      </p:sp>
      <p:sp>
        <p:nvSpPr>
          <p:cNvPr id="5" name="AutoShape 2" descr="ildresultat för south park"/>
          <p:cNvSpPr>
            <a:spLocks noChangeAspect="1" noChangeArrowheads="1"/>
          </p:cNvSpPr>
          <p:nvPr/>
        </p:nvSpPr>
        <p:spPr bwMode="auto">
          <a:xfrm>
            <a:off x="0" y="0"/>
            <a:ext cx="1771650" cy="177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032979" y="3487795"/>
            <a:ext cx="394155" cy="394155"/>
          </a:xfrm>
          <a:prstGeom prst="rect">
            <a:avLst/>
          </a:prstGeom>
        </p:spPr>
      </p:pic>
      <p:pic>
        <p:nvPicPr>
          <p:cNvPr id="24" name="Picture 26" descr="tefan Johns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221" y="2977099"/>
            <a:ext cx="380738" cy="380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8" descr="https://www.apicasystem.com/se/wp-content/uploads/sites/2/2014/09/Niclas_LI-2-150x15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914" y="2986194"/>
            <a:ext cx="379083" cy="379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Bildobjekt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982" y="1209684"/>
            <a:ext cx="328613" cy="492568"/>
          </a:xfrm>
          <a:prstGeom prst="rect">
            <a:avLst/>
          </a:prstGeom>
        </p:spPr>
      </p:pic>
      <p:pic>
        <p:nvPicPr>
          <p:cNvPr id="27" name="Bildobjekt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79" y="1207087"/>
            <a:ext cx="330346" cy="495165"/>
          </a:xfrm>
          <a:prstGeom prst="rect">
            <a:avLst/>
          </a:prstGeom>
        </p:spPr>
      </p:pic>
      <p:pic>
        <p:nvPicPr>
          <p:cNvPr id="28" name="Bildobjekt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349" y="2360783"/>
            <a:ext cx="335502" cy="502893"/>
          </a:xfrm>
          <a:prstGeom prst="rect">
            <a:avLst/>
          </a:prstGeom>
        </p:spPr>
      </p:pic>
      <p:pic>
        <p:nvPicPr>
          <p:cNvPr id="29" name="Bildobjekt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914" y="654531"/>
            <a:ext cx="308612" cy="462588"/>
          </a:xfrm>
          <a:prstGeom prst="rect">
            <a:avLst/>
          </a:prstGeom>
        </p:spPr>
      </p:pic>
      <p:pic>
        <p:nvPicPr>
          <p:cNvPr id="30" name="Picture 2" descr="https://media.licdn.com/media/p/5/005/08f/3c6/1b2b72a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751" y="1836569"/>
            <a:ext cx="369890" cy="36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enrik Caesar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694" y="1823046"/>
            <a:ext cx="384305" cy="38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Bildobjekt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46700" y="2361690"/>
            <a:ext cx="381699" cy="501986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349" y="3487795"/>
            <a:ext cx="335502" cy="447336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388" y="649271"/>
            <a:ext cx="384305" cy="467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557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77" y="238125"/>
            <a:ext cx="8394223" cy="575228"/>
          </a:xfrm>
        </p:spPr>
        <p:txBody>
          <a:bodyPr/>
          <a:lstStyle/>
          <a:p>
            <a:r>
              <a:rPr lang="en-US" dirty="0" smtClean="0"/>
              <a:t>PS – </a:t>
            </a:r>
            <a:r>
              <a:rPr lang="en-US" dirty="0" err="1" smtClean="0"/>
              <a:t>Organisation</a:t>
            </a:r>
            <a:r>
              <a:rPr lang="en-US" dirty="0" smtClean="0"/>
              <a:t> (US)</a:t>
            </a:r>
            <a:endParaRPr lang="en-US" dirty="0"/>
          </a:p>
        </p:txBody>
      </p:sp>
      <p:sp>
        <p:nvSpPr>
          <p:cNvPr id="3" name="AutoShape 6" descr="http://it24.idg.se/polopoly_fs/1.346088.1287038140%21imageUploader/2647827474.gif"/>
          <p:cNvSpPr>
            <a:spLocks noChangeAspect="1" noChangeArrowheads="1"/>
          </p:cNvSpPr>
          <p:nvPr/>
        </p:nvSpPr>
        <p:spPr bwMode="auto">
          <a:xfrm>
            <a:off x="0" y="0"/>
            <a:ext cx="1464635" cy="188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AutoShape 2" descr="http://it24.idg.se/polopoly_fs/1.562265.1400769483%21imageUploader/1863001382.jpg"/>
          <p:cNvSpPr>
            <a:spLocks noChangeAspect="1" noChangeArrowheads="1"/>
          </p:cNvSpPr>
          <p:nvPr/>
        </p:nvSpPr>
        <p:spPr bwMode="auto">
          <a:xfrm>
            <a:off x="0" y="0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8" name="Content Placeholder 6"/>
          <p:cNvSpPr>
            <a:spLocks noGrp="1"/>
          </p:cNvSpPr>
          <p:nvPr>
            <p:ph idx="1"/>
          </p:nvPr>
        </p:nvSpPr>
        <p:spPr>
          <a:xfrm>
            <a:off x="304800" y="803870"/>
            <a:ext cx="5621365" cy="3215680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Ervin </a:t>
            </a:r>
            <a:r>
              <a:rPr lang="en-US" sz="1050" dirty="0" err="1" smtClean="0">
                <a:solidFill>
                  <a:schemeClr val="tx1">
                    <a:lumMod val="50000"/>
                  </a:schemeClr>
                </a:solidFill>
              </a:rPr>
              <a:t>Talactac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 (Senior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Mark Gilbert (Senior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Daniel </a:t>
            </a:r>
            <a:r>
              <a:rPr lang="en-US" sz="1050" dirty="0" err="1">
                <a:solidFill>
                  <a:schemeClr val="tx1">
                    <a:lumMod val="50000"/>
                  </a:schemeClr>
                </a:solidFill>
              </a:rPr>
              <a:t>Bengtsson</a:t>
            </a: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 (Senior 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Duncan Essex (PE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Robert </a:t>
            </a:r>
            <a:r>
              <a:rPr lang="en-US" sz="1050" dirty="0" err="1" smtClean="0">
                <a:solidFill>
                  <a:schemeClr val="tx1">
                    <a:lumMod val="50000"/>
                  </a:schemeClr>
                </a:solidFill>
              </a:rPr>
              <a:t>Karaszi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 (PS 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Manager</a:t>
            </a:r>
            <a:r>
              <a:rPr lang="en-US" sz="1050" dirty="0" smtClean="0">
                <a:solidFill>
                  <a:schemeClr val="tx1">
                    <a:lumMod val="50000"/>
                  </a:schemeClr>
                </a:solidFill>
              </a:rPr>
              <a:t>)</a:t>
            </a:r>
            <a:endParaRPr lang="en-US" sz="1700" dirty="0"/>
          </a:p>
          <a:p>
            <a:pPr marL="457200" indent="-457200">
              <a:buFont typeface="+mj-lt"/>
              <a:buAutoNum type="arabicPeriod"/>
            </a:pPr>
            <a:endParaRPr lang="en-US" sz="1700" dirty="0" smtClean="0"/>
          </a:p>
          <a:p>
            <a:pPr marL="457200" indent="-457200">
              <a:buFont typeface="+mj-lt"/>
              <a:buAutoNum type="arabicPeriod"/>
            </a:pPr>
            <a:endParaRPr lang="en-US" sz="1900" dirty="0"/>
          </a:p>
          <a:p>
            <a:endParaRPr lang="en-US" sz="1900" dirty="0"/>
          </a:p>
          <a:p>
            <a:endParaRPr lang="en-US" sz="2000" dirty="0"/>
          </a:p>
        </p:txBody>
      </p:sp>
      <p:sp>
        <p:nvSpPr>
          <p:cNvPr id="5" name="AutoShape 2" descr="ildresultat för south park"/>
          <p:cNvSpPr>
            <a:spLocks noChangeAspect="1" noChangeArrowheads="1"/>
          </p:cNvSpPr>
          <p:nvPr/>
        </p:nvSpPr>
        <p:spPr bwMode="auto">
          <a:xfrm>
            <a:off x="0" y="0"/>
            <a:ext cx="1771650" cy="177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317" y="3219825"/>
            <a:ext cx="489789" cy="48978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317" y="845605"/>
            <a:ext cx="521218" cy="5212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130" y="1443705"/>
            <a:ext cx="481975" cy="4819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298" y="2002562"/>
            <a:ext cx="388790" cy="51290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316" y="2622750"/>
            <a:ext cx="489789" cy="489789"/>
          </a:xfrm>
          <a:prstGeom prst="rect">
            <a:avLst/>
          </a:prstGeom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34285" y="804785"/>
            <a:ext cx="2196003" cy="1518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5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S - </a:t>
            </a:r>
            <a:r>
              <a:rPr lang="sv-SE" dirty="0" err="1"/>
              <a:t>R</a:t>
            </a:r>
            <a:r>
              <a:rPr lang="sv-SE" dirty="0" err="1" smtClean="0"/>
              <a:t>oles</a:t>
            </a:r>
            <a:r>
              <a:rPr lang="sv-SE" dirty="0" smtClean="0"/>
              <a:t> &amp; </a:t>
            </a:r>
            <a:r>
              <a:rPr lang="sv-SE" dirty="0" err="1" smtClean="0"/>
              <a:t>levels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317977" y="971550"/>
            <a:ext cx="7866379" cy="3495675"/>
          </a:xfrm>
        </p:spPr>
        <p:txBody>
          <a:bodyPr>
            <a:noAutofit/>
          </a:bodyPr>
          <a:lstStyle/>
          <a:p>
            <a:r>
              <a:rPr lang="en-US" dirty="0" smtClean="0"/>
              <a:t>Roles</a:t>
            </a:r>
          </a:p>
          <a:p>
            <a:pPr lvl="1"/>
            <a:r>
              <a:rPr lang="en-US" sz="1100" dirty="0" smtClean="0"/>
              <a:t>Performance Engineer (PE)</a:t>
            </a:r>
            <a:endParaRPr lang="en-US" sz="1100" dirty="0"/>
          </a:p>
          <a:p>
            <a:pPr lvl="1"/>
            <a:r>
              <a:rPr lang="en-US" sz="1100" dirty="0" smtClean="0"/>
              <a:t>Test Lead (TL</a:t>
            </a:r>
            <a:r>
              <a:rPr lang="en-US" sz="1100" dirty="0" smtClean="0"/>
              <a:t>)</a:t>
            </a:r>
          </a:p>
          <a:p>
            <a:r>
              <a:rPr lang="en-US" dirty="0" smtClean="0"/>
              <a:t>Skill </a:t>
            </a:r>
            <a:r>
              <a:rPr lang="en-US" dirty="0"/>
              <a:t>l</a:t>
            </a:r>
            <a:r>
              <a:rPr lang="en-US" dirty="0" smtClean="0"/>
              <a:t>evels</a:t>
            </a:r>
          </a:p>
          <a:p>
            <a:pPr lvl="1"/>
            <a:r>
              <a:rPr lang="en-US" sz="1100" dirty="0" smtClean="0"/>
              <a:t>Junior</a:t>
            </a:r>
          </a:p>
          <a:p>
            <a:pPr lvl="1"/>
            <a:r>
              <a:rPr lang="en-US" sz="1100" dirty="0" smtClean="0"/>
              <a:t>“Standard”</a:t>
            </a:r>
          </a:p>
          <a:p>
            <a:pPr lvl="1"/>
            <a:r>
              <a:rPr lang="en-US" sz="1100" dirty="0" smtClean="0"/>
              <a:t>Senior</a:t>
            </a:r>
          </a:p>
          <a:p>
            <a:pPr lvl="1"/>
            <a:r>
              <a:rPr lang="en-US" sz="1100" dirty="0" smtClean="0"/>
              <a:t>Principal</a:t>
            </a:r>
          </a:p>
          <a:p>
            <a:pPr lvl="1"/>
            <a:r>
              <a:rPr lang="en-US" sz="1100" dirty="0" smtClean="0"/>
              <a:t>Expert</a:t>
            </a:r>
          </a:p>
          <a:p>
            <a:r>
              <a:rPr lang="en-US" sz="1500" dirty="0"/>
              <a:t>“Other technical roles” (part of Sales </a:t>
            </a:r>
            <a:r>
              <a:rPr lang="en-US" sz="1500" dirty="0" err="1"/>
              <a:t>Organisation</a:t>
            </a:r>
            <a:r>
              <a:rPr lang="en-US" sz="1500" dirty="0"/>
              <a:t>)</a:t>
            </a:r>
          </a:p>
          <a:p>
            <a:pPr lvl="1"/>
            <a:r>
              <a:rPr lang="en-US" sz="1100" dirty="0"/>
              <a:t>Solution Engineer (SE) (pre sales)</a:t>
            </a:r>
          </a:p>
          <a:p>
            <a:pPr lvl="1"/>
            <a:r>
              <a:rPr lang="en-US" sz="1100" dirty="0"/>
              <a:t>Technical Account Manager (TAM) (post sales</a:t>
            </a:r>
            <a:r>
              <a:rPr lang="en-US" sz="1100" dirty="0" smtClean="0"/>
              <a:t>)</a:t>
            </a:r>
          </a:p>
          <a:p>
            <a:pPr lvl="1"/>
            <a:r>
              <a:rPr lang="en-US" sz="1100" dirty="0" smtClean="0"/>
              <a:t>PS collaborates with both SE and TAM</a:t>
            </a:r>
            <a:endParaRPr lang="en-US" sz="1100" dirty="0"/>
          </a:p>
          <a:p>
            <a:pPr lvl="1"/>
            <a:endParaRPr lang="en-US" sz="1100" dirty="0" smtClean="0"/>
          </a:p>
          <a:p>
            <a:pPr marL="0" indent="0">
              <a:buNone/>
            </a:pPr>
            <a:endParaRPr lang="en-US" sz="1200" b="1" dirty="0" smtClean="0"/>
          </a:p>
        </p:txBody>
      </p:sp>
      <p:pic>
        <p:nvPicPr>
          <p:cNvPr id="3074" name="Picture 2" descr="ildresultat för IT job rol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971550"/>
            <a:ext cx="249555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977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ruta 48"/>
          <p:cNvSpPr txBox="1"/>
          <p:nvPr/>
        </p:nvSpPr>
        <p:spPr>
          <a:xfrm>
            <a:off x="1818083" y="4655727"/>
            <a:ext cx="5778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800" dirty="0" err="1"/>
              <a:t>Apica</a:t>
            </a:r>
            <a:r>
              <a:rPr lang="sv-SE" sz="1800" dirty="0"/>
              <a:t> – Services</a:t>
            </a: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311100" y="72758"/>
            <a:ext cx="8394223" cy="57522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S – Career path</a:t>
            </a:r>
            <a:endParaRPr lang="en-US" dirty="0"/>
          </a:p>
        </p:txBody>
      </p:sp>
      <p:sp>
        <p:nvSpPr>
          <p:cNvPr id="32" name="Triangel 2"/>
          <p:cNvSpPr/>
          <p:nvPr/>
        </p:nvSpPr>
        <p:spPr>
          <a:xfrm>
            <a:off x="1845086" y="303498"/>
            <a:ext cx="5670630" cy="421246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>
              <a:solidFill>
                <a:srgbClr val="00B0F0"/>
              </a:solidFill>
            </a:endParaRPr>
          </a:p>
        </p:txBody>
      </p:sp>
      <p:cxnSp>
        <p:nvCxnSpPr>
          <p:cNvPr id="35" name="Rak 4"/>
          <p:cNvCxnSpPr/>
          <p:nvPr/>
        </p:nvCxnSpPr>
        <p:spPr>
          <a:xfrm>
            <a:off x="2655176" y="3327834"/>
            <a:ext cx="40504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ak 21"/>
          <p:cNvCxnSpPr/>
          <p:nvPr/>
        </p:nvCxnSpPr>
        <p:spPr>
          <a:xfrm>
            <a:off x="3465266" y="2085696"/>
            <a:ext cx="24302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ak 24"/>
          <p:cNvCxnSpPr/>
          <p:nvPr/>
        </p:nvCxnSpPr>
        <p:spPr>
          <a:xfrm>
            <a:off x="4707404" y="2085696"/>
            <a:ext cx="0" cy="12421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ruta 22"/>
          <p:cNvSpPr txBox="1"/>
          <p:nvPr/>
        </p:nvSpPr>
        <p:spPr>
          <a:xfrm>
            <a:off x="2958798" y="3753198"/>
            <a:ext cx="27522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 err="1"/>
              <a:t>Performance</a:t>
            </a:r>
            <a:r>
              <a:rPr lang="sv-SE" sz="1200" dirty="0"/>
              <a:t> </a:t>
            </a:r>
            <a:r>
              <a:rPr lang="sv-SE" sz="1200" dirty="0" err="1"/>
              <a:t>Engineer</a:t>
            </a:r>
            <a:r>
              <a:rPr lang="sv-SE" sz="1200" dirty="0"/>
              <a:t> (PE)</a:t>
            </a:r>
          </a:p>
        </p:txBody>
      </p:sp>
      <p:sp>
        <p:nvSpPr>
          <p:cNvPr id="44" name="textruta 35"/>
          <p:cNvSpPr txBox="1"/>
          <p:nvPr/>
        </p:nvSpPr>
        <p:spPr>
          <a:xfrm>
            <a:off x="3371149" y="2214657"/>
            <a:ext cx="13231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 smtClean="0"/>
              <a:t>Principal </a:t>
            </a:r>
            <a:r>
              <a:rPr lang="sv-SE" sz="1200" dirty="0"/>
              <a:t>PE</a:t>
            </a:r>
          </a:p>
        </p:txBody>
      </p:sp>
      <p:sp>
        <p:nvSpPr>
          <p:cNvPr id="48" name="textruta 37"/>
          <p:cNvSpPr txBox="1"/>
          <p:nvPr/>
        </p:nvSpPr>
        <p:spPr>
          <a:xfrm>
            <a:off x="3262278" y="2979015"/>
            <a:ext cx="13231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Senior PE</a:t>
            </a:r>
          </a:p>
        </p:txBody>
      </p:sp>
      <p:sp>
        <p:nvSpPr>
          <p:cNvPr id="50" name="Ned 23"/>
          <p:cNvSpPr/>
          <p:nvPr/>
        </p:nvSpPr>
        <p:spPr>
          <a:xfrm flipV="1">
            <a:off x="3903795" y="2561180"/>
            <a:ext cx="231043" cy="42094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51" name="textruta 38"/>
          <p:cNvSpPr txBox="1"/>
          <p:nvPr/>
        </p:nvSpPr>
        <p:spPr>
          <a:xfrm>
            <a:off x="4673131" y="2202748"/>
            <a:ext cx="13231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 smtClean="0"/>
              <a:t>Principal </a:t>
            </a:r>
            <a:r>
              <a:rPr lang="sv-SE" sz="1200" dirty="0"/>
              <a:t>TL</a:t>
            </a:r>
          </a:p>
        </p:txBody>
      </p:sp>
      <p:sp>
        <p:nvSpPr>
          <p:cNvPr id="52" name="textruta 39"/>
          <p:cNvSpPr txBox="1"/>
          <p:nvPr/>
        </p:nvSpPr>
        <p:spPr>
          <a:xfrm>
            <a:off x="4572389" y="2988840"/>
            <a:ext cx="1727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 Senior (TL)</a:t>
            </a:r>
          </a:p>
        </p:txBody>
      </p:sp>
      <p:sp>
        <p:nvSpPr>
          <p:cNvPr id="53" name="Ned 40"/>
          <p:cNvSpPr/>
          <p:nvPr/>
        </p:nvSpPr>
        <p:spPr>
          <a:xfrm flipV="1">
            <a:off x="5258284" y="2557511"/>
            <a:ext cx="231043" cy="42094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54" name="textruta 44"/>
          <p:cNvSpPr txBox="1"/>
          <p:nvPr/>
        </p:nvSpPr>
        <p:spPr>
          <a:xfrm>
            <a:off x="3679066" y="1384077"/>
            <a:ext cx="11942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Expert PE</a:t>
            </a:r>
          </a:p>
          <a:p>
            <a:pPr algn="ctr"/>
            <a:r>
              <a:rPr lang="sv-SE" sz="900" i="1" dirty="0"/>
              <a:t>Solution </a:t>
            </a:r>
          </a:p>
          <a:p>
            <a:pPr algn="ctr"/>
            <a:r>
              <a:rPr lang="sv-SE" sz="900" i="1" dirty="0" err="1"/>
              <a:t>Architect</a:t>
            </a:r>
            <a:endParaRPr lang="sv-SE" sz="1050" i="1" dirty="0"/>
          </a:p>
        </p:txBody>
      </p:sp>
      <p:sp>
        <p:nvSpPr>
          <p:cNvPr id="55" name="textruta 45"/>
          <p:cNvSpPr txBox="1"/>
          <p:nvPr/>
        </p:nvSpPr>
        <p:spPr>
          <a:xfrm>
            <a:off x="4011557" y="828732"/>
            <a:ext cx="13231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/>
              <a:t>Strategy</a:t>
            </a:r>
            <a:endParaRPr lang="sv-SE" sz="1800" dirty="0"/>
          </a:p>
        </p:txBody>
      </p:sp>
      <p:cxnSp>
        <p:nvCxnSpPr>
          <p:cNvPr id="56" name="Rak 46"/>
          <p:cNvCxnSpPr/>
          <p:nvPr/>
        </p:nvCxnSpPr>
        <p:spPr>
          <a:xfrm>
            <a:off x="4707404" y="1714454"/>
            <a:ext cx="0" cy="12421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Rak 18"/>
          <p:cNvCxnSpPr/>
          <p:nvPr/>
        </p:nvCxnSpPr>
        <p:spPr>
          <a:xfrm>
            <a:off x="5711011" y="3327834"/>
            <a:ext cx="676730" cy="1188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ruta 25"/>
          <p:cNvSpPr txBox="1"/>
          <p:nvPr/>
        </p:nvSpPr>
        <p:spPr>
          <a:xfrm>
            <a:off x="5786049" y="3656443"/>
            <a:ext cx="14581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Test </a:t>
            </a:r>
            <a:r>
              <a:rPr lang="sv-SE" sz="1200" dirty="0" err="1"/>
              <a:t>Lead</a:t>
            </a:r>
            <a:r>
              <a:rPr lang="sv-SE" sz="1200" dirty="0"/>
              <a:t> </a:t>
            </a:r>
          </a:p>
          <a:p>
            <a:pPr algn="ctr"/>
            <a:r>
              <a:rPr lang="sv-SE" sz="1200" dirty="0"/>
              <a:t>(TL)</a:t>
            </a:r>
          </a:p>
        </p:txBody>
      </p:sp>
      <p:sp>
        <p:nvSpPr>
          <p:cNvPr id="59" name="textruta 6"/>
          <p:cNvSpPr txBox="1"/>
          <p:nvPr/>
        </p:nvSpPr>
        <p:spPr>
          <a:xfrm>
            <a:off x="907073" y="3312325"/>
            <a:ext cx="1822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Scriptning</a:t>
            </a:r>
            <a:r>
              <a:rPr lang="sv-SE" sz="800" b="1" dirty="0"/>
              <a:t> Services</a:t>
            </a:r>
          </a:p>
          <a:p>
            <a:r>
              <a:rPr lang="sv-SE" sz="800" b="1" dirty="0"/>
              <a:t>     (LT &amp; </a:t>
            </a:r>
            <a:r>
              <a:rPr lang="sv-SE" sz="800" b="1" dirty="0" smtClean="0"/>
              <a:t>Synthetic </a:t>
            </a:r>
            <a:r>
              <a:rPr lang="sv-SE" sz="800" b="1" dirty="0" err="1" smtClean="0"/>
              <a:t>Bundles</a:t>
            </a:r>
            <a:r>
              <a:rPr lang="sv-SE" sz="800" b="1" dirty="0"/>
              <a:t>)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Setup &amp; </a:t>
            </a:r>
            <a:r>
              <a:rPr lang="sv-SE" sz="800" b="1" dirty="0" err="1" smtClean="0"/>
              <a:t>Execute</a:t>
            </a:r>
            <a:r>
              <a:rPr lang="sv-SE" sz="800" b="1" dirty="0" smtClean="0"/>
              <a:t> LT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LT </a:t>
            </a:r>
            <a:r>
              <a:rPr lang="sv-SE" sz="800" b="1" dirty="0"/>
              <a:t>Scenarios &amp; </a:t>
            </a:r>
            <a:r>
              <a:rPr lang="sv-SE" sz="800" b="1" dirty="0" err="1" smtClean="0"/>
              <a:t>Analysi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LT </a:t>
            </a:r>
            <a:r>
              <a:rPr lang="sv-SE" sz="800" b="1" dirty="0" err="1" smtClean="0"/>
              <a:t>Recommendation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 smtClean="0"/>
              <a:t>Training</a:t>
            </a:r>
            <a:r>
              <a:rPr lang="sv-SE" sz="800" b="1" dirty="0" smtClean="0"/>
              <a:t> </a:t>
            </a:r>
            <a:r>
              <a:rPr lang="sv-SE" sz="800" b="1" dirty="0" err="1" smtClean="0"/>
              <a:t>delivery</a:t>
            </a:r>
            <a:endParaRPr lang="sv-SE" sz="800" b="1" dirty="0"/>
          </a:p>
        </p:txBody>
      </p:sp>
      <p:sp>
        <p:nvSpPr>
          <p:cNvPr id="60" name="textruta 27"/>
          <p:cNvSpPr txBox="1"/>
          <p:nvPr/>
        </p:nvSpPr>
        <p:spPr>
          <a:xfrm>
            <a:off x="7193443" y="3273791"/>
            <a:ext cx="13798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</a:t>
            </a:r>
            <a:r>
              <a:rPr lang="sv-SE" sz="800" b="1" dirty="0" smtClean="0"/>
              <a:t>Management</a:t>
            </a:r>
            <a:r>
              <a:rPr lang="sv-SE" sz="800" b="1" dirty="0"/>
              <a:t/>
            </a:r>
            <a:br>
              <a:rPr lang="sv-SE" sz="800" b="1" dirty="0"/>
            </a:br>
            <a:r>
              <a:rPr lang="sv-SE" sz="800" b="1" dirty="0"/>
              <a:t>(off site)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Project </a:t>
            </a:r>
            <a:r>
              <a:rPr lang="sv-SE" sz="800" b="1" dirty="0" err="1" smtClean="0"/>
              <a:t>scoping</a:t>
            </a:r>
            <a:endParaRPr lang="sv-SE" sz="800" b="1" dirty="0" smtClean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Project </a:t>
            </a:r>
            <a:r>
              <a:rPr lang="sv-SE" sz="800" b="1" dirty="0" err="1" smtClean="0"/>
              <a:t>onboarding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Review LT </a:t>
            </a:r>
            <a:r>
              <a:rPr lang="sv-SE" sz="800" b="1" dirty="0" err="1" smtClean="0"/>
              <a:t>report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Project </a:t>
            </a:r>
            <a:r>
              <a:rPr lang="sv-SE" sz="800" b="1" dirty="0" err="1" smtClean="0"/>
              <a:t>evaluations</a:t>
            </a:r>
            <a:endParaRPr lang="sv-SE" sz="800" b="1" dirty="0"/>
          </a:p>
        </p:txBody>
      </p:sp>
      <p:sp>
        <p:nvSpPr>
          <p:cNvPr id="61" name="textruta 28"/>
          <p:cNvSpPr txBox="1"/>
          <p:nvPr/>
        </p:nvSpPr>
        <p:spPr>
          <a:xfrm>
            <a:off x="1764690" y="1976179"/>
            <a:ext cx="14217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 err="1" smtClean="0"/>
              <a:t>Advanced</a:t>
            </a:r>
            <a:r>
              <a:rPr lang="sv-SE" sz="800" b="1" dirty="0" smtClean="0"/>
              <a:t> </a:t>
            </a:r>
            <a:r>
              <a:rPr lang="sv-SE" sz="800" b="1" dirty="0" err="1" smtClean="0"/>
              <a:t>scripting</a:t>
            </a:r>
            <a:r>
              <a:rPr lang="sv-SE" sz="800" b="1" dirty="0" smtClean="0"/>
              <a:t> (</a:t>
            </a:r>
            <a:r>
              <a:rPr lang="sv-SE" sz="800" b="1" dirty="0" err="1" smtClean="0"/>
              <a:t>plugins</a:t>
            </a:r>
            <a:r>
              <a:rPr lang="sv-SE" sz="800" b="1" dirty="0" smtClean="0"/>
              <a:t>, </a:t>
            </a:r>
            <a:r>
              <a:rPr lang="sv-SE" sz="800" b="1" dirty="0" err="1" smtClean="0"/>
              <a:t>inline</a:t>
            </a:r>
            <a:r>
              <a:rPr lang="sv-SE" sz="800" b="1" dirty="0"/>
              <a:t>)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Advanced</a:t>
            </a:r>
            <a:r>
              <a:rPr lang="sv-SE" sz="800" b="1" dirty="0"/>
              <a:t> </a:t>
            </a:r>
            <a:r>
              <a:rPr lang="sv-SE" sz="800" b="1" dirty="0" err="1"/>
              <a:t>Analysi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APM </a:t>
            </a:r>
            <a:r>
              <a:rPr lang="sv-SE" sz="800" b="1" dirty="0" err="1"/>
              <a:t>expertise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Data restoration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Tailored</a:t>
            </a:r>
            <a:r>
              <a:rPr lang="sv-SE" sz="800" b="1" dirty="0"/>
              <a:t> </a:t>
            </a:r>
            <a:r>
              <a:rPr lang="sv-SE" sz="800" b="1" dirty="0" err="1"/>
              <a:t>training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Trouble</a:t>
            </a:r>
            <a:r>
              <a:rPr lang="sv-SE" sz="800" b="1" dirty="0"/>
              <a:t> </a:t>
            </a:r>
            <a:r>
              <a:rPr lang="sv-SE" sz="800" b="1" dirty="0" err="1"/>
              <a:t>shooting</a:t>
            </a:r>
            <a:endParaRPr lang="sv-SE" sz="800" b="1" dirty="0"/>
          </a:p>
        </p:txBody>
      </p:sp>
      <p:sp>
        <p:nvSpPr>
          <p:cNvPr id="62" name="textruta 29"/>
          <p:cNvSpPr txBox="1"/>
          <p:nvPr/>
        </p:nvSpPr>
        <p:spPr>
          <a:xfrm>
            <a:off x="6375162" y="1976179"/>
            <a:ext cx="1577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Risk </a:t>
            </a:r>
            <a:r>
              <a:rPr lang="sv-SE" sz="800" b="1" dirty="0" err="1"/>
              <a:t>assess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Test Implementation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Test </a:t>
            </a:r>
            <a:r>
              <a:rPr lang="sv-SE" sz="800" b="1" dirty="0" err="1"/>
              <a:t>strategy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Resource</a:t>
            </a:r>
            <a:r>
              <a:rPr lang="sv-SE" sz="800" b="1" dirty="0"/>
              <a:t>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 smtClean="0"/>
              <a:t>Requirement</a:t>
            </a:r>
            <a:r>
              <a:rPr lang="sv-SE" sz="800" b="1" dirty="0" smtClean="0"/>
              <a:t> </a:t>
            </a:r>
            <a:r>
              <a:rPr lang="sv-SE" sz="800" b="1" dirty="0" err="1"/>
              <a:t>analysi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design, </a:t>
            </a:r>
            <a:r>
              <a:rPr lang="sv-SE" sz="800" b="1" dirty="0"/>
              <a:t>test </a:t>
            </a:r>
            <a:r>
              <a:rPr lang="sv-SE" sz="800" b="1" dirty="0" err="1" smtClean="0"/>
              <a:t>case</a:t>
            </a:r>
            <a:r>
              <a:rPr lang="sv-SE" sz="800" b="1" dirty="0" smtClean="0"/>
              <a:t>  / scenario </a:t>
            </a:r>
            <a:r>
              <a:rPr lang="sv-SE" sz="800" b="1" dirty="0" smtClean="0"/>
              <a:t>management 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endParaRPr lang="sv-SE" sz="800" b="1" dirty="0"/>
          </a:p>
        </p:txBody>
      </p:sp>
      <p:sp>
        <p:nvSpPr>
          <p:cNvPr id="63" name="textruta 30"/>
          <p:cNvSpPr txBox="1"/>
          <p:nvPr/>
        </p:nvSpPr>
        <p:spPr>
          <a:xfrm>
            <a:off x="5686015" y="570423"/>
            <a:ext cx="23125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Performance</a:t>
            </a:r>
            <a:r>
              <a:rPr lang="sv-SE" sz="800" b="1" dirty="0"/>
              <a:t> Test Center (</a:t>
            </a:r>
            <a:r>
              <a:rPr lang="sv-SE" sz="800" b="1" dirty="0" err="1"/>
              <a:t>CoE</a:t>
            </a:r>
            <a:r>
              <a:rPr lang="sv-SE" sz="800" b="1" dirty="0"/>
              <a:t>)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KPI management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Dashboard</a:t>
            </a:r>
            <a:r>
              <a:rPr lang="sv-SE" sz="800" b="1" dirty="0"/>
              <a:t>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Environment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Methodology</a:t>
            </a:r>
            <a:r>
              <a:rPr lang="sv-SE" sz="800" b="1" dirty="0"/>
              <a:t> &amp; Process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ools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Knowledge</a:t>
            </a:r>
            <a:r>
              <a:rPr lang="sv-SE" sz="800" b="1" dirty="0"/>
              <a:t> &amp; information evangelist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Current</a:t>
            </a:r>
            <a:r>
              <a:rPr lang="sv-SE" sz="800" b="1" dirty="0"/>
              <a:t> situation </a:t>
            </a:r>
            <a:r>
              <a:rPr lang="sv-SE" sz="800" b="1" dirty="0" err="1"/>
              <a:t>analysis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smtClean="0"/>
              <a:t>Test </a:t>
            </a:r>
            <a:r>
              <a:rPr lang="sv-SE" sz="800" b="1" dirty="0" err="1" smtClean="0"/>
              <a:t>Improv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endParaRPr lang="sv-SE" sz="800" b="1" dirty="0"/>
          </a:p>
        </p:txBody>
      </p:sp>
      <p:sp>
        <p:nvSpPr>
          <p:cNvPr id="64" name="textruta 32"/>
          <p:cNvSpPr txBox="1"/>
          <p:nvPr/>
        </p:nvSpPr>
        <p:spPr>
          <a:xfrm>
            <a:off x="4508212" y="1384077"/>
            <a:ext cx="11942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Expert TL</a:t>
            </a:r>
          </a:p>
          <a:p>
            <a:pPr algn="ctr"/>
            <a:r>
              <a:rPr lang="sv-SE" sz="900" i="1" dirty="0"/>
              <a:t>Test/QA</a:t>
            </a:r>
          </a:p>
          <a:p>
            <a:pPr algn="ctr"/>
            <a:r>
              <a:rPr lang="sv-SE" sz="900" i="1" dirty="0"/>
              <a:t>Manager</a:t>
            </a:r>
            <a:endParaRPr lang="sv-SE" sz="1050" i="1" dirty="0"/>
          </a:p>
        </p:txBody>
      </p:sp>
      <p:sp>
        <p:nvSpPr>
          <p:cNvPr id="65" name="textruta 33"/>
          <p:cNvSpPr txBox="1"/>
          <p:nvPr/>
        </p:nvSpPr>
        <p:spPr>
          <a:xfrm>
            <a:off x="2521836" y="654235"/>
            <a:ext cx="15800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ools </a:t>
            </a:r>
            <a:r>
              <a:rPr lang="sv-SE" sz="800" b="1" dirty="0" err="1"/>
              <a:t>Comparison</a:t>
            </a:r>
            <a:r>
              <a:rPr lang="sv-SE" sz="800" b="1" dirty="0"/>
              <a:t>/s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ools Integration/s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</a:t>
            </a:r>
            <a:r>
              <a:rPr lang="sv-SE" sz="800" b="1" dirty="0" err="1"/>
              <a:t>environment</a:t>
            </a:r>
            <a:r>
              <a:rPr lang="sv-SE" sz="800" b="1" dirty="0"/>
              <a:t>/s 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Infrastructure</a:t>
            </a:r>
            <a:r>
              <a:rPr lang="sv-SE" sz="800" b="1" dirty="0"/>
              <a:t>/s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data </a:t>
            </a:r>
            <a:r>
              <a:rPr lang="sv-SE" sz="800" b="1" dirty="0" smtClean="0"/>
              <a:t>management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/>
              <a:t>Test </a:t>
            </a:r>
            <a:r>
              <a:rPr lang="sv-SE" sz="800" b="1" dirty="0" err="1"/>
              <a:t>security</a:t>
            </a:r>
            <a:endParaRPr lang="sv-SE" sz="800" b="1" dirty="0"/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Capacity</a:t>
            </a:r>
            <a:r>
              <a:rPr lang="sv-SE" sz="800" b="1" dirty="0"/>
              <a:t> Planning</a:t>
            </a:r>
          </a:p>
          <a:p>
            <a:pPr marL="128588" indent="-128588">
              <a:buFont typeface="Arial" charset="0"/>
              <a:buChar char="•"/>
            </a:pPr>
            <a:r>
              <a:rPr lang="sv-SE" sz="800" b="1" dirty="0" err="1"/>
              <a:t>Continues</a:t>
            </a:r>
            <a:r>
              <a:rPr lang="sv-SE" sz="800" b="1" dirty="0"/>
              <a:t> </a:t>
            </a:r>
            <a:r>
              <a:rPr lang="sv-SE" sz="800" b="1" dirty="0" err="1" smtClean="0"/>
              <a:t>Delivery</a:t>
            </a:r>
            <a:endParaRPr lang="sv-SE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40344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S - Basic tasks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289243" y="895350"/>
            <a:ext cx="3961923" cy="34956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sv-SE" dirty="0" smtClean="0"/>
              <a:t>Project </a:t>
            </a:r>
            <a:r>
              <a:rPr lang="sv-SE" dirty="0" err="1" smtClean="0"/>
              <a:t>deliveries</a:t>
            </a:r>
            <a:endParaRPr lang="sv-SE" dirty="0" smtClean="0"/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Load</a:t>
            </a:r>
            <a:r>
              <a:rPr lang="sv-SE" sz="1600" dirty="0" smtClean="0"/>
              <a:t> </a:t>
            </a:r>
            <a:r>
              <a:rPr lang="sv-SE" sz="1600" dirty="0" smtClean="0"/>
              <a:t>Test </a:t>
            </a:r>
            <a:r>
              <a:rPr lang="sv-SE" sz="1600" dirty="0" smtClean="0"/>
              <a:t>(ALT)</a:t>
            </a:r>
            <a:endParaRPr lang="sv-SE" sz="1600" dirty="0"/>
          </a:p>
          <a:p>
            <a:pPr lvl="1">
              <a:buFont typeface="Arial" charset="0"/>
              <a:buChar char="•"/>
            </a:pPr>
            <a:r>
              <a:rPr lang="sv-SE" sz="1600" dirty="0" smtClean="0"/>
              <a:t>Synthetic </a:t>
            </a:r>
            <a:r>
              <a:rPr lang="sv-SE" sz="1600" dirty="0" err="1" smtClean="0"/>
              <a:t>Monitoring</a:t>
            </a:r>
            <a:r>
              <a:rPr lang="sv-SE" sz="1600" dirty="0"/>
              <a:t> </a:t>
            </a:r>
            <a:r>
              <a:rPr lang="sv-SE" sz="1600" dirty="0" smtClean="0"/>
              <a:t>(ASM)</a:t>
            </a:r>
            <a:endParaRPr lang="sv-SE" sz="1600" dirty="0" smtClean="0"/>
          </a:p>
          <a:p>
            <a:pPr lvl="3">
              <a:buFont typeface="Arial" charset="0"/>
              <a:buChar char="•"/>
            </a:pPr>
            <a:r>
              <a:rPr lang="sv-SE" sz="1300" dirty="0" smtClean="0"/>
              <a:t>Sweden/Nordic</a:t>
            </a:r>
          </a:p>
          <a:p>
            <a:pPr lvl="3">
              <a:buFont typeface="Arial" charset="0"/>
              <a:buChar char="•"/>
            </a:pPr>
            <a:r>
              <a:rPr lang="sv-SE" sz="1300" dirty="0" err="1" smtClean="0"/>
              <a:t>RoW</a:t>
            </a:r>
            <a:r>
              <a:rPr lang="sv-SE" sz="1300" dirty="0" smtClean="0"/>
              <a:t> (UK</a:t>
            </a:r>
            <a:r>
              <a:rPr lang="sv-SE" sz="1300" dirty="0"/>
              <a:t>) (</a:t>
            </a:r>
            <a:r>
              <a:rPr lang="sv-SE" sz="1300" dirty="0" err="1"/>
              <a:t>occasionally</a:t>
            </a:r>
            <a:r>
              <a:rPr lang="sv-SE" sz="1300" dirty="0"/>
              <a:t>)</a:t>
            </a:r>
            <a:endParaRPr lang="sv-SE" sz="1300" dirty="0" smtClean="0"/>
          </a:p>
          <a:p>
            <a:pPr lvl="3">
              <a:buFont typeface="Arial" charset="0"/>
              <a:buChar char="•"/>
            </a:pPr>
            <a:r>
              <a:rPr lang="sv-SE" sz="1300" dirty="0" smtClean="0"/>
              <a:t>US (</a:t>
            </a:r>
            <a:r>
              <a:rPr lang="sv-SE" sz="1300" dirty="0" err="1" smtClean="0"/>
              <a:t>seldom</a:t>
            </a:r>
            <a:r>
              <a:rPr lang="sv-SE" sz="1300" dirty="0" smtClean="0"/>
              <a:t>)</a:t>
            </a:r>
            <a:endParaRPr lang="sv-SE" sz="1300" dirty="0"/>
          </a:p>
          <a:p>
            <a:pPr>
              <a:buFont typeface="Arial" charset="0"/>
              <a:buChar char="•"/>
            </a:pPr>
            <a:r>
              <a:rPr lang="sv-SE" dirty="0" err="1" smtClean="0"/>
              <a:t>Education</a:t>
            </a:r>
            <a:endParaRPr lang="sv-SE" dirty="0" smtClean="0"/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External</a:t>
            </a:r>
            <a:r>
              <a:rPr lang="sv-SE" sz="1600" dirty="0" smtClean="0"/>
              <a:t> </a:t>
            </a:r>
            <a:r>
              <a:rPr lang="sv-SE" sz="1600" dirty="0" err="1" smtClean="0"/>
              <a:t>training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External</a:t>
            </a:r>
            <a:r>
              <a:rPr lang="sv-SE" sz="1600" dirty="0" smtClean="0"/>
              <a:t> workshops</a:t>
            </a:r>
          </a:p>
          <a:p>
            <a:pPr>
              <a:buFont typeface="Arial" charset="0"/>
              <a:buChar char="•"/>
            </a:pPr>
            <a:r>
              <a:rPr lang="sv-SE" dirty="0" smtClean="0"/>
              <a:t>Marketing</a:t>
            </a:r>
            <a:endParaRPr lang="sv-SE" dirty="0"/>
          </a:p>
          <a:p>
            <a:pPr lvl="1">
              <a:buFont typeface="Arial" charset="0"/>
              <a:buChar char="•"/>
            </a:pPr>
            <a:r>
              <a:rPr lang="sv-SE" sz="1600" dirty="0" smtClean="0"/>
              <a:t>Conferences</a:t>
            </a:r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Customer</a:t>
            </a:r>
            <a:r>
              <a:rPr lang="sv-SE" sz="1600" dirty="0" smtClean="0"/>
              <a:t> events</a:t>
            </a:r>
            <a:endParaRPr lang="sv-SE" sz="1600" dirty="0"/>
          </a:p>
        </p:txBody>
      </p:sp>
      <p:sp>
        <p:nvSpPr>
          <p:cNvPr id="8" name="Platshållare för innehåll 3"/>
          <p:cNvSpPr txBox="1">
            <a:spLocks/>
          </p:cNvSpPr>
          <p:nvPr/>
        </p:nvSpPr>
        <p:spPr>
          <a:xfrm>
            <a:off x="3886200" y="895859"/>
            <a:ext cx="3720623" cy="34956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Franklin Gothic Book" panose="020B05030201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71450" algn="l" defTabSz="582771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5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Open Sans" panose="020B0606030504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sv-SE" dirty="0" err="1"/>
              <a:t>Presales</a:t>
            </a:r>
            <a:r>
              <a:rPr lang="sv-SE" dirty="0"/>
              <a:t> </a:t>
            </a:r>
            <a:r>
              <a:rPr lang="sv-SE" dirty="0" smtClean="0"/>
              <a:t>tasks </a:t>
            </a:r>
            <a:endParaRPr lang="sv-SE" dirty="0"/>
          </a:p>
          <a:p>
            <a:pPr lvl="1">
              <a:buFont typeface="Arial" charset="0"/>
              <a:buChar char="•"/>
            </a:pPr>
            <a:r>
              <a:rPr lang="sv-SE" sz="1600" dirty="0" err="1"/>
              <a:t>Supporting</a:t>
            </a:r>
            <a:r>
              <a:rPr lang="sv-SE" sz="1600" dirty="0"/>
              <a:t> </a:t>
            </a:r>
            <a:r>
              <a:rPr lang="sv-SE" sz="1600" dirty="0" err="1"/>
              <a:t>sales</a:t>
            </a:r>
            <a:endParaRPr lang="sv-SE" sz="1600" dirty="0"/>
          </a:p>
          <a:p>
            <a:pPr lvl="1">
              <a:buFont typeface="Arial" charset="0"/>
              <a:buChar char="•"/>
            </a:pPr>
            <a:r>
              <a:rPr lang="sv-SE" sz="1600" dirty="0" err="1"/>
              <a:t>Supporting</a:t>
            </a:r>
            <a:r>
              <a:rPr lang="sv-SE" sz="1600" dirty="0"/>
              <a:t> partners</a:t>
            </a:r>
          </a:p>
          <a:p>
            <a:pPr>
              <a:buFont typeface="Arial" charset="0"/>
              <a:buChar char="•"/>
            </a:pPr>
            <a:r>
              <a:rPr lang="sv-SE" dirty="0" smtClean="0"/>
              <a:t>Support tasks</a:t>
            </a:r>
          </a:p>
          <a:p>
            <a:pPr lvl="1">
              <a:buFont typeface="Arial" charset="0"/>
              <a:buChar char="•"/>
            </a:pPr>
            <a:r>
              <a:rPr lang="sv-SE" sz="1600" dirty="0" smtClean="0"/>
              <a:t>2nd </a:t>
            </a:r>
            <a:r>
              <a:rPr lang="sv-SE" sz="1600" dirty="0" err="1" smtClean="0"/>
              <a:t>line</a:t>
            </a:r>
            <a:r>
              <a:rPr lang="sv-SE" sz="1600" dirty="0" smtClean="0"/>
              <a:t> support</a:t>
            </a:r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Advanced</a:t>
            </a:r>
            <a:r>
              <a:rPr lang="sv-SE" sz="1600" dirty="0" smtClean="0"/>
              <a:t> </a:t>
            </a:r>
            <a:r>
              <a:rPr lang="sv-SE" sz="1600" dirty="0" err="1" smtClean="0"/>
              <a:t>scripting</a:t>
            </a:r>
            <a:endParaRPr lang="sv-SE" sz="1600" dirty="0"/>
          </a:p>
          <a:p>
            <a:pPr>
              <a:buFont typeface="Arial" charset="0"/>
              <a:buChar char="•"/>
            </a:pPr>
            <a:r>
              <a:rPr lang="sv-SE" dirty="0" err="1" smtClean="0"/>
              <a:t>Internal</a:t>
            </a:r>
            <a:r>
              <a:rPr lang="sv-SE" dirty="0" smtClean="0"/>
              <a:t> PS </a:t>
            </a:r>
            <a:r>
              <a:rPr lang="sv-SE" dirty="0" err="1" smtClean="0"/>
              <a:t>development</a:t>
            </a:r>
            <a:endParaRPr lang="sv-SE" dirty="0"/>
          </a:p>
          <a:p>
            <a:pPr lvl="1">
              <a:buFont typeface="Arial" charset="0"/>
              <a:buChar char="•"/>
            </a:pPr>
            <a:r>
              <a:rPr lang="sv-SE" sz="1600" dirty="0" smtClean="0"/>
              <a:t>Best </a:t>
            </a:r>
            <a:r>
              <a:rPr lang="sv-SE" sz="1600" dirty="0" err="1" smtClean="0"/>
              <a:t>practices</a:t>
            </a:r>
            <a:endParaRPr lang="sv-SE" sz="1600" dirty="0" smtClean="0"/>
          </a:p>
          <a:p>
            <a:pPr lvl="1">
              <a:buFont typeface="Arial" charset="0"/>
              <a:buChar char="•"/>
            </a:pPr>
            <a:r>
              <a:rPr lang="sv-SE" sz="1600" dirty="0" smtClean="0"/>
              <a:t>Templates and </a:t>
            </a:r>
            <a:r>
              <a:rPr lang="sv-SE" sz="1600" dirty="0" err="1" smtClean="0"/>
              <a:t>utils</a:t>
            </a:r>
            <a:r>
              <a:rPr lang="sv-SE" sz="1600" dirty="0" smtClean="0"/>
              <a:t> </a:t>
            </a:r>
            <a:r>
              <a:rPr lang="sv-SE" sz="1600" dirty="0" err="1" smtClean="0"/>
              <a:t>etc</a:t>
            </a:r>
            <a:endParaRPr lang="sv-SE" sz="1600" dirty="0"/>
          </a:p>
          <a:p>
            <a:pPr lvl="1">
              <a:buFont typeface="Arial" charset="0"/>
              <a:buChar char="•"/>
            </a:pPr>
            <a:r>
              <a:rPr lang="sv-SE" sz="1600" dirty="0" err="1" smtClean="0"/>
              <a:t>Knowledge</a:t>
            </a:r>
            <a:r>
              <a:rPr lang="sv-SE" sz="1600" dirty="0" smtClean="0"/>
              <a:t> </a:t>
            </a:r>
            <a:r>
              <a:rPr lang="sv-SE" sz="1600" dirty="0" err="1" smtClean="0"/>
              <a:t>sharing</a:t>
            </a:r>
            <a:endParaRPr lang="is-IS" sz="1600" dirty="0" smtClean="0"/>
          </a:p>
          <a:p>
            <a:pPr lvl="1">
              <a:buFont typeface="Arial" charset="0"/>
              <a:buChar char="•"/>
            </a:pPr>
            <a:endParaRPr lang="sv-SE" sz="1600" dirty="0" smtClean="0"/>
          </a:p>
        </p:txBody>
      </p:sp>
      <p:pic>
        <p:nvPicPr>
          <p:cNvPr id="5" name="Picture 2" descr="http://www.cgipa.com/images/service_ima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400" y="350439"/>
            <a:ext cx="2142803" cy="92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392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77" y="238125"/>
            <a:ext cx="8394223" cy="575228"/>
          </a:xfrm>
        </p:spPr>
        <p:txBody>
          <a:bodyPr/>
          <a:lstStyle/>
          <a:p>
            <a:r>
              <a:rPr lang="sv-SE" dirty="0" smtClean="0"/>
              <a:t>PS - </a:t>
            </a:r>
            <a:r>
              <a:rPr lang="sv-SE" dirty="0" err="1" smtClean="0"/>
              <a:t>Strategy</a:t>
            </a:r>
            <a:r>
              <a:rPr lang="sv-SE" dirty="0" smtClean="0"/>
              <a:t> &amp; </a:t>
            </a:r>
            <a:r>
              <a:rPr lang="sv-SE" dirty="0" err="1" smtClean="0"/>
              <a:t>purpose</a:t>
            </a:r>
            <a:endParaRPr lang="sv-S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04800" y="803870"/>
            <a:ext cx="8407400" cy="3968114"/>
          </a:xfrm>
        </p:spPr>
        <p:txBody>
          <a:bodyPr>
            <a:normAutofit/>
          </a:bodyPr>
          <a:lstStyle/>
          <a:p>
            <a:r>
              <a:rPr lang="en-US" sz="1600" dirty="0"/>
              <a:t>E</a:t>
            </a:r>
            <a:r>
              <a:rPr lang="en-US" sz="1600" dirty="0" smtClean="0"/>
              <a:t>ngage with customers to deliver </a:t>
            </a:r>
            <a:r>
              <a:rPr lang="en-US" sz="1600" dirty="0" smtClean="0"/>
              <a:t>superior quality </a:t>
            </a:r>
            <a:r>
              <a:rPr lang="en-US" sz="1600" dirty="0" smtClean="0"/>
              <a:t>services</a:t>
            </a:r>
          </a:p>
          <a:p>
            <a:r>
              <a:rPr lang="en-US" sz="1600" dirty="0" smtClean="0"/>
              <a:t>Happy customer </a:t>
            </a:r>
            <a:r>
              <a:rPr lang="en-US" sz="1600" dirty="0" smtClean="0"/>
              <a:t>remains with </a:t>
            </a:r>
            <a:r>
              <a:rPr lang="en-US" sz="1600" dirty="0" smtClean="0"/>
              <a:t>Apica and buys </a:t>
            </a:r>
            <a:r>
              <a:rPr lang="en-US" sz="1600" dirty="0" smtClean="0"/>
              <a:t>more </a:t>
            </a:r>
            <a:r>
              <a:rPr lang="en-US" sz="1600" dirty="0" smtClean="0"/>
              <a:t>(upsell</a:t>
            </a:r>
            <a:r>
              <a:rPr lang="en-US" sz="1600" dirty="0" smtClean="0"/>
              <a:t>)!</a:t>
            </a:r>
            <a:endParaRPr lang="en-US" sz="1600" dirty="0" smtClean="0"/>
          </a:p>
          <a:p>
            <a:r>
              <a:rPr lang="en-US" sz="1600" dirty="0" smtClean="0"/>
              <a:t>We deliver </a:t>
            </a:r>
            <a:r>
              <a:rPr lang="en-US" sz="1600" dirty="0" smtClean="0"/>
              <a:t>services around our core </a:t>
            </a:r>
            <a:r>
              <a:rPr lang="en-US" sz="1600" dirty="0" smtClean="0"/>
              <a:t>product solutions ALT and ASM</a:t>
            </a:r>
            <a:endParaRPr lang="en-US" sz="1600" dirty="0" smtClean="0"/>
          </a:p>
          <a:p>
            <a:pPr lvl="1"/>
            <a:r>
              <a:rPr lang="en-US" sz="1200" dirty="0" smtClean="0"/>
              <a:t>Scoping, Planning, Scripting, Executing, Analyzing, </a:t>
            </a:r>
            <a:r>
              <a:rPr lang="en-US" sz="1200" dirty="0" smtClean="0"/>
              <a:t>Reporting </a:t>
            </a:r>
            <a:endParaRPr lang="en-US" sz="1200" dirty="0" smtClean="0"/>
          </a:p>
          <a:p>
            <a:r>
              <a:rPr lang="en-US" sz="1600" dirty="0" smtClean="0"/>
              <a:t>Deliver </a:t>
            </a:r>
            <a:r>
              <a:rPr lang="en-US" sz="1600" dirty="0"/>
              <a:t>t</a:t>
            </a:r>
            <a:r>
              <a:rPr lang="en-US" sz="1600" dirty="0" smtClean="0"/>
              <a:t>raining and transfer of skills to customers </a:t>
            </a:r>
            <a:r>
              <a:rPr lang="en-US" sz="1600" dirty="0" smtClean="0"/>
              <a:t>and </a:t>
            </a:r>
            <a:r>
              <a:rPr lang="en-US" sz="1600" dirty="0" smtClean="0"/>
              <a:t>partners</a:t>
            </a:r>
          </a:p>
          <a:p>
            <a:r>
              <a:rPr lang="en-US" sz="1600" dirty="0" smtClean="0"/>
              <a:t>Deliver </a:t>
            </a:r>
            <a:r>
              <a:rPr lang="en-US" sz="1600" dirty="0" smtClean="0"/>
              <a:t>often short </a:t>
            </a:r>
            <a:r>
              <a:rPr lang="en-US" sz="1600" dirty="0" smtClean="0"/>
              <a:t>engagements (LTFS</a:t>
            </a:r>
            <a:r>
              <a:rPr lang="en-US" sz="1600" dirty="0" smtClean="0"/>
              <a:t>) </a:t>
            </a:r>
            <a:endParaRPr lang="en-US" sz="1600" dirty="0" smtClean="0"/>
          </a:p>
          <a:p>
            <a:r>
              <a:rPr lang="en-US" sz="1600" dirty="0" smtClean="0"/>
              <a:t>Supports continuously our recurring license customers (</a:t>
            </a:r>
            <a:r>
              <a:rPr lang="en-US" sz="1600" dirty="0" err="1" smtClean="0"/>
              <a:t>LTSaaS</a:t>
            </a:r>
            <a:r>
              <a:rPr lang="en-US" sz="1600" dirty="0" smtClean="0"/>
              <a:t> &amp; ASM)</a:t>
            </a:r>
          </a:p>
          <a:p>
            <a:r>
              <a:rPr lang="en-US" sz="1600" dirty="0" smtClean="0"/>
              <a:t>Deliver also extended </a:t>
            </a:r>
            <a:r>
              <a:rPr lang="en-US" sz="1600" dirty="0" smtClean="0"/>
              <a:t>services</a:t>
            </a:r>
          </a:p>
          <a:p>
            <a:pPr lvl="1"/>
            <a:r>
              <a:rPr lang="en-US" sz="1200" dirty="0" smtClean="0"/>
              <a:t>Expert level consultancy / strategic advisory </a:t>
            </a:r>
          </a:p>
          <a:p>
            <a:pPr lvl="1"/>
            <a:r>
              <a:rPr lang="en-US" sz="1200" dirty="0" smtClean="0"/>
              <a:t>Solution </a:t>
            </a:r>
            <a:r>
              <a:rPr lang="en-US" sz="1200" dirty="0" smtClean="0"/>
              <a:t>Architect </a:t>
            </a:r>
            <a:endParaRPr lang="en-US" sz="1200" dirty="0" smtClean="0"/>
          </a:p>
          <a:p>
            <a:pPr lvl="1"/>
            <a:r>
              <a:rPr lang="en-US" sz="1200" dirty="0" smtClean="0"/>
              <a:t>Test &amp; QA management</a:t>
            </a:r>
            <a:endParaRPr lang="en-US" sz="1200" dirty="0" smtClean="0"/>
          </a:p>
          <a:p>
            <a:pPr lvl="2"/>
            <a:endParaRPr lang="en-US" dirty="0"/>
          </a:p>
          <a:p>
            <a:endParaRPr lang="en-US" sz="1900" dirty="0"/>
          </a:p>
          <a:p>
            <a:pPr marL="0" indent="0">
              <a:buNone/>
            </a:pPr>
            <a:endParaRPr lang="en-US" sz="1900" dirty="0"/>
          </a:p>
          <a:p>
            <a:endParaRPr lang="en-US" sz="1900" dirty="0"/>
          </a:p>
          <a:p>
            <a:endParaRPr lang="en-US" sz="1900" dirty="0"/>
          </a:p>
          <a:p>
            <a:endParaRPr lang="en-US" sz="2000" dirty="0"/>
          </a:p>
        </p:txBody>
      </p:sp>
      <p:sp>
        <p:nvSpPr>
          <p:cNvPr id="3" name="AutoShape 2" descr="ildresultat för qbis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" name="AutoShape 4" descr="ildresultat för qbis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5" name="AutoShape 6" descr="ildresultat för qbis"/>
          <p:cNvSpPr>
            <a:spLocks noChangeAspect="1" noChangeArrowheads="1"/>
          </p:cNvSpPr>
          <p:nvPr/>
        </p:nvSpPr>
        <p:spPr bwMode="auto">
          <a:xfrm>
            <a:off x="304800" y="304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6" name="AutoShape 8" descr="ildresultat för istqb foundation"/>
          <p:cNvSpPr>
            <a:spLocks noChangeAspect="1" noChangeArrowheads="1"/>
          </p:cNvSpPr>
          <p:nvPr/>
        </p:nvSpPr>
        <p:spPr bwMode="auto">
          <a:xfrm>
            <a:off x="457200" y="457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9" name="AutoShape 10" descr="ildresultat för istqb foundation"/>
          <p:cNvSpPr>
            <a:spLocks noChangeAspect="1" noChangeArrowheads="1"/>
          </p:cNvSpPr>
          <p:nvPr/>
        </p:nvSpPr>
        <p:spPr bwMode="auto">
          <a:xfrm>
            <a:off x="609600" y="609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0" name="AutoShape 12" descr="ildresultat för istqb foundation"/>
          <p:cNvSpPr>
            <a:spLocks noChangeAspect="1" noChangeArrowheads="1"/>
          </p:cNvSpPr>
          <p:nvPr/>
        </p:nvSpPr>
        <p:spPr bwMode="auto">
          <a:xfrm>
            <a:off x="762000" y="762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1" name="AutoShape 14" descr="data:image/png;base64,iVBORw0KGgoAAAANSUhEUgAAAQQAAADCCAMAAACYEEwlAAAA9lBMVEX///8KOYzXAAvVAAAAKoXTAAAANIrx8/gALoccRZT2+PsAJoStudQALIbS2Ohiea0bOIt+k74AN4vwrq/i6PMAHYB2iLYAIYIAMYiVpccAG4CJmsEAHYExTZVXY52CirTn6/PI0eM5Vpq5xNsAAHkADnrZOjwAFXxYdKzja2yToseUm79PXJlLaKbDzuH74eP75+iywNr98/OjsNBqgLLZLC7xtbb31dXuo6bXFxoACXtUa6beUVI/YaLrjI/0xsbrlZfmfHziYGDndXndKC3dRkn0zM1FT5Kip8XvnqFncaUzU5s1RpDpg4V4j7zfTU9ohbfnZGuecq91AAAWZElEQVR4nO1daVviStNOJGQlQTLZCGQmJCCIgiK4geio45xxUOac//9n3t6iCenEDcfnBe8PXpill7urq6urujsMs1Y4ONjf39s7Bjg6Od/+77/t65OjvY8u1F/Bwf7Pi4uj2/PL6+vtq5ut00KxWCgc/nd78XPv4KPL9s44gE1+cn+2tXW6AaoNK45weLZ9e3H80aV7bxwcg2a/v746BHUnFd/YAH+KxY2t6y8XKy79oO0vzq9uDk83ilHdEeB/p1tXtxf7qy39exdH55dnUdNvPAJKwMbN/ZeL1a7/wfHtf2eHp4u1Jwycbl0erbb6O744uf5TwCpvI01A4ez+y2prwP0jpPrStUcEFAsbZ0fHqywB+z9Ptn+g9qcQACk4vTo/+uhCviv2brdvaOJPCADc/FlpETjYO/nvFEoAnQDYN24uv3x0Kd8TBxffr04zJQDKQOH0+8/9jy7m++Fg/8vVaaYOQDKwcXb/86OL+Z7YO9mG7ZxFALz343aVjaGD/fOzvE4A9cDW5SozwBx/ucoeCDAFp5dHq8zAwZerQ2j45zCwcXa7wpoQjAXncMjPZgBQsPV9pW3ig/OzjbxeADXB1dEqC8H+xXbeWECEYKVdIwe3Z7kyACdHf1ZaCA6Or58WgstVZoBhLrZPnxKCw5PV7gdHh9lTI8zB6dXFR5fyXXFwcvOUKihcr/TkAFBw+BQFh9errQoOTrae0oaHqz0kPqcj/Lhd5ekBnCA8KQVbJ6tNAXNx9YQUFAsnq60LmOOrtZeCg/snTKNiYcXVIdCHG0+IwY/zFZcC5uf2Uz1he6WdBQD790+Nimcr3hEY5mgr32NS3FrtIBrA/uUTYvBj1YcEIAaHOb5T2BPuV74nHFw/5T1ddX0ILMStfDE4PPnoEr4/bvPFoLi98j2B2bvJ5+Bs5ccE0BUO87XB/cqPCQxznycGwDpafYXI7G/ni8H3NRCD49wJY+HPGogB8yWPg/UQA+Z7rjq4We1gAgYwEvPE4HIdxCBXJRZO18A2ACpxK4+DqxX3omLkcVAorrwDDeEib93Z1jpoRIb5mTM0Fm9Wf7YEcZS3BHUtjIPcvlDYWAPHAcTRRjYHa+A/QsiRg+J6jIyAg0yduB6eA4if2Tsz1kUdMMeZXqRCYS0MZYDjH5kc3KyJSmQObjI5OFwTlcgcXGVxUNxeE5XIMNeZHFytDQffs3wohfOPLtpfQ5ahCCbOH120v4bj6NyGRRTXxTwAuPiSgfVwHnziE5/4xCc+8YlPfOITqwtZSCH1iDa0yuXyqBL68uMbOQksQk7lKhilShmlWTJS+f19TKRFTP3EA341qJucqqqcUlc7IcN0HfgUb5D7cz2VwgK4YTJLIbQk21RwmqYtWWGaJSYcWVTMa4PG41NGadinvPxSTB0+CTEw4vcbgeKwEXRVLDM7JnzMjJ6yFP4JtKuJHAdTleP1xzR5Tuz0U+WqtrgMqJuTiNV+eTis1d7OQu+xOBh84MduD20ncVc3RxUO/lAICbLFsU+gHidBm7ad1BNiexTPFGWsZKani62phvIeDTuDf63BO5OgKTzJ2OEURUTPevoLSXBjJJQkNaoKSJFzSO46F2jPJgFAleDjg9Jg1JiElTeTECgAUdvw4LftPXYHYZfcUdmOVamUZxzP6rjciyQ4Kuzi4kMpUY93FkkYjvUoJ2kymo8mUsSyWE92iV9tURT5qFwihsM/pO+BpgpLg3JnIMzfTEJYAhjh0jpT+M/gsY+VSHMoHQ2NC0aJi/haIIHvILVVJg2rI7U27zlJEkoi4UARS4Ysg5HFGCokD0dKyELY63Q6M1xpPuggTALWjgRJqcLuUKoK36pv7w4IVdyaXHnhuoSrrE4ermieQyWBC/HtTUzCJr5bshMkGC6ulK5UHsdFv0xYENmUhqvgW1z3Mf8OETZe8oHWHmlGdQmKESGDBK1NqhRro37rBSQMEyTIE9KMdi2eizwhLJiJyxARCbEb8ih6GuZoDIfpgeWVyCCh6uImKse57qivJSHSdWol2XZ+pHk2F5QjjQRGIMpUGb2tzilkkDBSF6URIOReSYIs4c4gBovy2+dwvbjFetFIYIgmVntvqDANdBLkr7jUSil+1bijDZHPIKFqks6QVmRlnL9u+8nrVBKIQKW5fCOySNApkuAH/KtIkHexSnMohTdUulagkhCSdGZ/iQQsCc4kPscRJqqu67z9QIL6FAnYYmzwNEpJIr/JGD1JVoxKwgAzJk7fVOU0MnRCmQxHdrzcssXCWdFmRMKoBc2tFp2EJrzX7MbyYDcbTBoPN5OqkUpCl1zsvKHCNGSQ0CW9WOfi1r9vIERtFnYRcK0XSNBq8FYNVXuEGdW9xPwsSoTQzSXUD52EqZNumWUg306AnZUt0cqewgIJMQgen9OABhk5ktWlktAnxou+bD9ElsUYREYq6yhehSbHC8gmwSdGgk2d7sgBUQq9hFKgkOCTJ5Vvz6jXi5BFgsY+zjF5TplVjSc0cjYJhkvRL48gxiTPJtqXkKBiEmRZ8EsS7jjK7tIdUlkkMMNWfKbtKOyolJt5Ngl9m5BQor33QIJDkwR+WpnP5xVr1JPwhJevB8/qnS9CJglM10m4QHSVu5vn5J9NAp5LAXsopL44IuaSSpMEllcRwFQatonuSLV3cExmk8D0Z2bSE8TbesXPSiibhGEkCXTNMlcICYmkKzTPij4bLl8MmFwSGL/rcWLC/cQrQdbULYeESDHSX41I4Pz4VSoJLLtbfoaOfjHySACjW2nEKwlxcEx6z36OJOSSwIs0nRB1B1XFpdAV01p+f8gnAUYeqp6t8o8s8KlZL8ZbdQJdMepej8Dj8IRTt38veebwNAkQjbkXEwdxQi3EM0aHIe29aHRYmF2lPUtGRcdtYVvPqtkL8BwSoBtn9uAu1xWqKDzDTki5jxB6ePgXkx4FmsU4aBOnytJcSgTPIwGg/2BD0h07ORYjcZwo1BaMzGYlKSd0fwJxqgRPFfaFyCABeaJLQz92yZ+Q+Z44oyWUM3cgnmOV2o/6ZALlJDUGlQQDz0J0ka6WXo0Mf8KujWbCifFIJpa0LtIG62wSGIvI0B3tvS7Ri//4ictUEqKrCl27vBq5nqV2clCuRQM+rSFySCBSvNjYOKeJQ+0rdBK6WMeKS55C5ZJgJhkPo8DDC0kgt1iOMo3UCLHughFEJ6FKSFjy+JBLgpq8qumvk4SHOZLup24RR2vKY5YrCU55uaZCLgm8l8gs0mEvlQQmJC6a9CDZIKEEdbGn0EmwlL8vCWxykQVx8fGsT0kojwRmShxs/AJ98gTfsFORVfrocEcoe3s0OoF8EpyEA4OM6CrV2ZtLQhgFHSdJwz+KpmTHIhMkVIiGVTLmL69FVc0jgVUex3bZyjV/c0lgKuRdJb4iSLCwLcnN/PQLFBKqxGLkN9PPvxZw3ZXcxSSoneSSrIgEVikTCTYiLzx/t1gE9GrjgQSZsgRMYEkjqsFDK2rE+uICyrywtjh3kBujaF2HvcRY5FR0eF6PFozwPK/OolYkJMA/ojutDIfzqUIsHl1ZjKXJYHoF3n5IyOEd+/diZsaUsMC70r+hpvVrkcuG7w2tznQGV4Rh934pmE57xEPNzzoTiF6gu5HZ7nhLnExPY0VHJDhBkgRdgrd1kVO4R+eKmWoGeabCRVpsLCUuRQLjB2ZUCZCeGq0AQtLBqaLoOE4by35ypUrkTnhIn1foU/LXIWfNEiZB/E2MkxiU9GxenqXWY6lpEhi5Jj4s6dHZxbwhiDs6f82S6CxVKz5Nwle5kljCpottil/nmSSAMSIwHVrln0+C7rQz/Xuvw1RZWCaoPMTJ5F14z9yVmdATOaQ6eAf8mNAkUfbMxQWHLpUERhgGvAIdxxCg+wGIMbRi3WERqgqSFTenwyW7lfB0OY7H9aX4HqyyHFo9DzSCFHSqGY2QTqiU1Vxyv1sO7mCjStIs6E0m5RgmWNDDTpkCa14bDpY8hX4JBN83DJ+yTvlVACMojOr6Pl78HEf0BB3Lyf4Tn/jEJz7xiU984hOf+MT7Y38vwkeX5OOwv71FcLpwhtiyJlf/D7B3GJ0a9Cd+2ejUx202Z6KvlVCMTVDaaK4s18R2mWEaIn0llzCS4i7mmhcQ+FnpG6VlOtyewF50xF4hfnKSMFPMma5kLMGA+NbsQIZ8s4mc9aErjgEJ/fqYTsKkHY+3lsettugo47GbuXCtO978e5J4EXFwGtcJI1vSGLnDNTML8q2OYodyt4ucIpY9hT46o9v1aU8LEztOgjYIS55aDsNBZvpVW/p7JJxEJCSO1JNMGBkM3TaWSX8wiDUZ8gV9MxMB1Lm7sCKkMXgQZ6PUkJMkwCQDJRIzQIlPfgphtHUakBC9nsg8fA9H1G1Ewm3somGjni4oKG4p1xzXxcFswVOGIyD3DVHXdbgoW9iEy/kbmzz4F+qETQdVwghs177D/riaardGncUV3Eag4OCjMDLrpki2FIlmXYExAt8ECaqww8k1xXQ5CxJueJuDSWvZ+yIgzgkJxfgZm1obL83TNCjjpTE7HHJjWE5BUmcu0IDaV4+XelW4mQ2ubtYm8N8a3A+jQBKE3Va51DF5+HajpU5rPM9lkVBpBaUKh9Zt9U29VgrMkcwI0xnPTuA2u2FbGlZ5FzaGcafP2u9CAjlysrAVv9h3lZh+C+Cup64JI5iC5LBDwQcN9M0uwypiEkB3qHegw7Chq1BcQxuofTJwWKYoAAnJIkG2WxojdEx4u1IHwlRqoZAg6A5ojJbaoP41tM7R8BynJLzHGmAyOBSuM0kwNhUfthL03QtSNGAQxRiRYLmohQAJ8MWKC1XKdFyDgXpzklKMMRJClwN/f9VhLec2INqoooGZKEZh3Gbg/ma4l9rwlOzR6k0ghxEXEt/7TpDQd5xudThHO9sFySWxogUS5nES5JEyGVaHXhtUUwggIbJVzyCharLg0bICB5fQdXoDEggiJDTaHLhtiboBu8NSg3UxEA5+JMzFiAR0dEgosu3W2OVeQoKotlpjrgWq6XtQBmTLzSChZuvgUVuBUWygBN2xg+NhhISwzrbG4zonIhK4dyIBnz5auExcJIpR/uefISRB7Rsa3iv2XBLskaaBV3wUs80nwWUN+CjZamaxtj2KdYfQtfFt+R1J2CumzUWQndJGY2MLHh3Sd6BOEDTtBSTUYQWNBnxvCkPe4EoGCV2XB399DZJggCyA/c1pjyQ0XKgTcObvRsJPTMLpz+RlCQXrQ7PVQIpRg7vWsGJ8IMHMJgGqeXAzaEI9VjYDOGZmK0ZYy+oYKsYJN4BLgusNJqYYoWVdcuHJAu9GwpciPoV64fThir1ZErSAY+E/UxcwUkbx2BgJStDwobFEIyFUWA30qTYc/KuuHQolLtNO4IANYExNGLwetUFPGPDopJ+qzWogfcZzK9CegqPNu5Fwgkm4Wrjse6azKyl4M/igyY1GbhMKqSA1CQlVV4TL8wUOzyKtMTqZgswi5WnLm3sttBHe31T0XYU1F0mAtYOojVmr12ZhxcHoULbuxsg8DFuODS3GUpsflW2kpw3JfB8SzjEJ3xev+6OZ5PVIHLo0laQJ+i2Xv4bRA9NgCA0A/FB1Fw3hWmeCbHu/7EkeOV9Dm9xJ3Wrv12IGPbxWTK6CRzvkqI5AkgJylIY1naJf8FqvgROdvMc+oQcSKF4l33i0zWSDYqflh5R9ODQQ0N6m5yQ/7ld+SJ+a+VJxX0TT6LU5kJwKTML10w+uMjAJ3z+6GB+LS2Q2r8vnOjIASSj8WJfvdWQAfvmwsLUuH+zIACJh+6NL8cGAJBTvU5ezD+HMg+BnPR8f//MSeFmG2fm9DEgSUnpR7u2ibbzTF7l2ZSuoLl7r4/PkfI+2YWwRghW85GQVoxMsx4xGkpAylQRedURVVV+2bVXutVO7V6wx2k1ibLaeQ8LX+kv2ABleezlLogEJhUK6NKxt9UOAF62/l3tmioQ5nkUJg+ecZCN8pW+4zYDh1ZdHwp/UVYFtx+RS1oZRdARt/JDx9g/YgfvDqMNow4YwISQIjeEAvyBb7R6aA0QTAXCrj5mFqfilQeLgqwQJIFuSClYVkcIwhoTQpZKQ/oRNggQjGDeb2GvQ51oaDBPCzfDyrDn/3XTbeLvXqN1ujib4rJ0+22w223AKqI1Flm+OQBosjmVpLEiLRZ0sbLLD8dh1YmonQYI/gdnCualvw1Xixh1aKy5YIPFxRV4mCdcFmtEMSHhQcfJvezYccaiwfR5un6zau7AMgegENQ/53phwrE5rko52ivqB0glrDjxewuh5jjTtQlcAchSDW9PSRJHQKya7aXXEuBc9QUK5NQ0rCvLLBDDG1+CRhtpxZ6WqjtpkaSQAi5HyjTuBVTrVbrcLIwCa4jQYuYNijX10xEBVwSRwE4HpY+U5N1mZMXjkLNKamwbQDy1UwEoLOVuIUyisewYjeK0hIgHuf5sosZBmnATNVoHQd1Awu9aeCUzJhhuZfAm6gCvmdMkknKaNZkHXlXGr1YQhj6oL/3ZbM0RCXBJc0Ii+A5tYmNhltCMd+VetLvSvEo8TVoyEhLkCfXQoHAOD+UAf7NQzSBi4MCC748LboQJorZnwXa0OxajUvpOXSMJ9sXBIIYHlepX53OqCYtZa8NisYYuXaSQIaPeS/w8svTwiihGotF3OppDQQ3ve5qaHSIBnjeBaUkioKtJObWdXgZsugWAOmBnqof2W9G1np6OwSybhJj1ziOsEqN9hXFQRsiUBkACrbyFPO9OYcE3JMykkBCZUoxX7GSTUVAeq11YPBmU69g7jICdnv60Dfdlqq8sk4bxImznER4cKkQSRTkJMEggJmqJMQqDXKCRM0dEpledIQs0O0B5PdPdXfdQwYXyCCVsS2qO51NEBkHCZvhonYQeTMIZdlCjGFAlCD9ZOLiMSujbc49ihkdBB3eFfGImISMjSCVUTbmzX8J6jvhh0myih/hjqBB8taFoaCd8LlOlTgoSBCQ/LqI17TCQJFWWRBKANYIRlhhRjWdmFgyFNMf4yYYylh2wLuiQ8bDIPXXh43bcmDvHcsRPcQcFYpcHTMZeqGE+Kxdv01TgJvsQNZW2GTmbVJKUma5viIgmgt9gluaogO6Fi32lMlcOnS1im13+MpWoqO2AabAsFaFwxLQli7xcEqKcv2kMw72ph3VTmeHzmijAza2AwQqH/pZFwVCxSvnUniM1Hi3FoioFU/+rD318V9U6Zcv9Ai9GDUTafw6Ygqzh3oleHDakpqjS7myljGGmotkU41BubLnqs0uKDTRdFXMOmDYfIcefRcBZ2OaXdbrso85rrTDw0FMJkxgpZ7VeyxUkAaYYW2Hg5JPwsFiluJdkaxSZ9pYkXfMNFMDretGtYO7BoNfgRAuGbhVpIG3nBsGShQg2mXq9hjFCkRK51fpceH2O6PSnoooppFow0haNfj5Ig71jfICyU+RA8Gp2NZ1hWVN/SRPIsNHnwa9ZygjF7heLTDwm+/1BOP2NiKT8+A54XYlOmpOMjltYLsn1lCs9FMT2RXj8UNz66BP8DSC5bW1OcLkbl1xE3FINx7XC9Pp9Gzsb3TxIACd8/ugT/AzihTB3WDhdr9KnwTOyt+doEhIM1X5uwqvg/iTFxQvjMaxY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5909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AutoShape 16" descr="data:image/png;base64,iVBORw0KGgoAAAANSUhEUgAAAQQAAADCCAMAAACYEEwlAAAA9lBMVEX///8KOYzXAAvVAAAAKoXTAAAANIrx8/gALoccRZT2+PsAJoStudQALIbS2Ohiea0bOIt+k74AN4vwrq/i6PMAHYB2iLYAIYIAMYiVpccAG4CJmsEAHYExTZVXY52CirTn6/PI0eM5Vpq5xNsAAHkADnrZOjwAFXxYdKzja2yToseUm79PXJlLaKbDzuH74eP75+iywNr98/OjsNBqgLLZLC7xtbb31dXuo6bXFxoACXtUa6beUVI/YaLrjI/0xsbrlZfmfHziYGDndXndKC3dRkn0zM1FT5Kip8XvnqFncaUzU5s1RpDpg4V4j7zfTU9ohbfnZGuecq91AAAWZElEQVR4nO1daVviStNOJGQlQTLZCGQmJCCIgiK4geio45xxUOac//9n3t6iCenEDcfnBe8PXpill7urq6urujsMs1Y4ONjf39s7Bjg6Od/+77/t65OjvY8u1F/Bwf7Pi4uj2/PL6+vtq5ut00KxWCgc/nd78XPv4KPL9s44gE1+cn+2tXW6AaoNK45weLZ9e3H80aV7bxwcg2a/v746BHUnFd/YAH+KxY2t6y8XKy79oO0vzq9uDk83ilHdEeB/p1tXtxf7qy39exdH55dnUdNvPAJKwMbN/ZeL1a7/wfHtf2eHp4u1Jwycbl0erbb6O744uf5TwCpvI01A4ez+y2prwP0jpPrStUcEFAsbZ0fHqywB+z9Ptn+g9qcQACk4vTo/+uhCviv2brdvaOJPCADc/FlpETjYO/nvFEoAnQDYN24uv3x0Kd8TBxffr04zJQDKQOH0+8/9jy7m++Fg/8vVaaYOQDKwcXb/86OL+Z7YO9mG7ZxFALz343aVjaGD/fOzvE4A9cDW5SozwBx/ucoeCDAFp5dHq8zAwZerQ2j45zCwcXa7wpoQjAXncMjPZgBQsPV9pW3ig/OzjbxeADXB1dEqC8H+xXbeWECEYKVdIwe3Z7kyACdHf1ZaCA6Or58WgstVZoBhLrZPnxKCw5PV7gdHh9lTI8zB6dXFR5fyXXFwcvOUKihcr/TkAFBw+BQFh9errQoOTrae0oaHqz0kPqcj/Lhd5ekBnCA8KQVbJ6tNAXNx9YQUFAsnq60LmOOrtZeCg/snTKNiYcXVIdCHG0+IwY/zFZcC5uf2Uz1he6WdBQD790+Nimcr3hEY5mgr32NS3FrtIBrA/uUTYvBj1YcEIAaHOb5T2BPuV74nHFw/5T1ddX0ILMStfDE4PPnoEr4/bvPFoLi98j2B2bvJ5+Bs5ccE0BUO87XB/cqPCQxznycGwDpafYXI7G/ni8H3NRCD49wJY+HPGogB8yWPg/UQA+Z7rjq4We1gAgYwEvPE4HIdxCBXJRZO18A2ACpxK4+DqxX3omLkcVAorrwDDeEib93Z1jpoRIb5mTM0Fm9Wf7YEcZS3BHUtjIPcvlDYWAPHAcTRRjYHa+A/QsiRg+J6jIyAg0yduB6eA4if2Tsz1kUdMMeZXqRCYS0MZYDjH5kc3KyJSmQObjI5OFwTlcgcXGVxUNxeE5XIMNeZHFytDQffs3wohfOPLtpfQ5ahCCbOH120v4bj6NyGRRTXxTwAuPiSgfVwHnziE5/4xCc+8YlPfOITqwtZSCH1iDa0yuXyqBL68uMbOQksQk7lKhilShmlWTJS+f19TKRFTP3EA341qJucqqqcUlc7IcN0HfgUb5D7cz2VwgK4YTJLIbQk21RwmqYtWWGaJSYcWVTMa4PG41NGadinvPxSTB0+CTEw4vcbgeKwEXRVLDM7JnzMjJ6yFP4JtKuJHAdTleP1xzR5Tuz0U+WqtrgMqJuTiNV+eTis1d7OQu+xOBh84MduD20ncVc3RxUO/lAICbLFsU+gHidBm7ad1BNiexTPFGWsZKani62phvIeDTuDf63BO5OgKTzJ2OEURUTPevoLSXBjJJQkNaoKSJFzSO46F2jPJgFAleDjg9Jg1JiElTeTECgAUdvw4LftPXYHYZfcUdmOVamUZxzP6rjciyQ4Kuzi4kMpUY93FkkYjvUoJ2kymo8mUsSyWE92iV9tURT5qFwihsM/pO+BpgpLg3JnIMzfTEJYAhjh0jpT+M/gsY+VSHMoHQ2NC0aJi/haIIHvILVVJg2rI7U27zlJEkoi4UARS4Ysg5HFGCokD0dKyELY63Q6M1xpPuggTALWjgRJqcLuUKoK36pv7w4IVdyaXHnhuoSrrE4ermieQyWBC/HtTUzCJr5bshMkGC6ulK5UHsdFv0xYENmUhqvgW1z3Mf8OETZe8oHWHmlGdQmKESGDBK1NqhRro37rBSQMEyTIE9KMdi2eizwhLJiJyxARCbEb8ih6GuZoDIfpgeWVyCCh6uImKse57qivJSHSdWol2XZ+pHk2F5QjjQRGIMpUGb2tzilkkDBSF6URIOReSYIs4c4gBovy2+dwvbjFetFIYIgmVntvqDANdBLkr7jUSil+1bijDZHPIKFqks6QVmRlnL9u+8nrVBKIQKW5fCOySNApkuAH/KtIkHexSnMohTdUulagkhCSdGZ/iQQsCc4kPscRJqqu67z9QIL6FAnYYmzwNEpJIr/JGD1JVoxKwgAzJk7fVOU0MnRCmQxHdrzcssXCWdFmRMKoBc2tFp2EJrzX7MbyYDcbTBoPN5OqkUpCl1zsvKHCNGSQ0CW9WOfi1r9vIERtFnYRcK0XSNBq8FYNVXuEGdW9xPwsSoTQzSXUD52EqZNumWUg306AnZUt0cqewgIJMQgen9OABhk5ktWlktAnxou+bD9ElsUYREYq6yhehSbHC8gmwSdGgk2d7sgBUQq9hFKgkOCTJ5Vvz6jXi5BFgsY+zjF5TplVjSc0cjYJhkvRL48gxiTPJtqXkKBiEmRZ8EsS7jjK7tIdUlkkMMNWfKbtKOyolJt5Ngl9m5BQor33QIJDkwR+WpnP5xVr1JPwhJevB8/qnS9CJglM10m4QHSVu5vn5J9NAp5LAXsopL44IuaSSpMEllcRwFQatonuSLV3cExmk8D0Z2bSE8TbesXPSiibhGEkCXTNMlcICYmkKzTPij4bLl8MmFwSGL/rcWLC/cQrQdbULYeESDHSX41I4Pz4VSoJLLtbfoaOfjHySACjW2nEKwlxcEx6z36OJOSSwIs0nRB1B1XFpdAV01p+f8gnAUYeqp6t8o8s8KlZL8ZbdQJdMepej8Dj8IRTt38veebwNAkQjbkXEwdxQi3EM0aHIe29aHRYmF2lPUtGRcdtYVvPqtkL8BwSoBtn9uAu1xWqKDzDTki5jxB6ePgXkx4FmsU4aBOnytJcSgTPIwGg/2BD0h07ORYjcZwo1BaMzGYlKSd0fwJxqgRPFfaFyCABeaJLQz92yZ+Q+Z44oyWUM3cgnmOV2o/6ZALlJDUGlQQDz0J0ka6WXo0Mf8KujWbCifFIJpa0LtIG62wSGIvI0B3tvS7Ri//4ictUEqKrCl27vBq5nqV2clCuRQM+rSFySCBSvNjYOKeJQ+0rdBK6WMeKS55C5ZJgJhkPo8DDC0kgt1iOMo3UCLHughFEJ6FKSFjy+JBLgpq8qumvk4SHOZLup24RR2vKY5YrCU55uaZCLgm8l8gs0mEvlQQmJC6a9CDZIKEEdbGn0EmwlL8vCWxykQVx8fGsT0kojwRmShxs/AJ98gTfsFORVfrocEcoe3s0OoF8EpyEA4OM6CrV2ZtLQhgFHSdJwz+KpmTHIhMkVIiGVTLmL69FVc0jgVUex3bZyjV/c0lgKuRdJb4iSLCwLcnN/PQLFBKqxGLkN9PPvxZw3ZXcxSSoneSSrIgEVikTCTYiLzx/t1gE9GrjgQSZsgRMYEkjqsFDK2rE+uICyrywtjh3kBujaF2HvcRY5FR0eF6PFozwPK/OolYkJMA/ojutDIfzqUIsHl1ZjKXJYHoF3n5IyOEd+/diZsaUsMC70r+hpvVrkcuG7w2tznQGV4Rh934pmE57xEPNzzoTiF6gu5HZ7nhLnExPY0VHJDhBkgRdgrd1kVO4R+eKmWoGeabCRVpsLCUuRQLjB2ZUCZCeGq0AQtLBqaLoOE4by35ypUrkTnhIn1foU/LXIWfNEiZB/E2MkxiU9GxenqXWY6lpEhi5Jj4s6dHZxbwhiDs6f82S6CxVKz5Nwle5kljCpottil/nmSSAMSIwHVrln0+C7rQz/Xuvw1RZWCaoPMTJ5F14z9yVmdATOaQ6eAf8mNAkUfbMxQWHLpUERhgGvAIdxxCg+wGIMbRi3WERqgqSFTenwyW7lfB0OY7H9aX4HqyyHFo9DzSCFHSqGY2QTqiU1Vxyv1sO7mCjStIs6E0m5RgmWNDDTpkCa14bDpY8hX4JBN83DJ+yTvlVACMojOr6Pl78HEf0BB3Lyf4Tn/jEJz7xiU984hOf+MT7Y38vwkeX5OOwv71FcLpwhtiyJlf/D7B3GJ0a9Cd+2ejUx202Z6KvlVCMTVDaaK4s18R2mWEaIn0llzCS4i7mmhcQ+FnpG6VlOtyewF50xF4hfnKSMFPMma5kLMGA+NbsQIZ8s4mc9aErjgEJ/fqYTsKkHY+3lsettugo47GbuXCtO978e5J4EXFwGtcJI1vSGLnDNTML8q2OYodyt4ucIpY9hT46o9v1aU8LEztOgjYIS55aDsNBZvpVW/p7JJxEJCSO1JNMGBkM3TaWSX8wiDUZ8gV9MxMB1Lm7sCKkMXgQZ6PUkJMkwCQDJRIzQIlPfgphtHUakBC9nsg8fA9H1G1Ewm3somGjni4oKG4p1xzXxcFswVOGIyD3DVHXdbgoW9iEy/kbmzz4F+qETQdVwghs177D/riaardGncUV3Eag4OCjMDLrpki2FIlmXYExAt8ECaqww8k1xXQ5CxJueJuDSWvZ+yIgzgkJxfgZm1obL83TNCjjpTE7HHJjWE5BUmcu0IDaV4+XelW4mQ2ubtYm8N8a3A+jQBKE3Va51DF5+HajpU5rPM9lkVBpBaUKh9Zt9U29VgrMkcwI0xnPTuA2u2FbGlZ5FzaGcafP2u9CAjlysrAVv9h3lZh+C+Cup64JI5iC5LBDwQcN9M0uwypiEkB3qHegw7Chq1BcQxuofTJwWKYoAAnJIkG2WxojdEx4u1IHwlRqoZAg6A5ojJbaoP41tM7R8BynJLzHGmAyOBSuM0kwNhUfthL03QtSNGAQxRiRYLmohQAJ8MWKC1XKdFyDgXpzklKMMRJClwN/f9VhLec2INqoooGZKEZh3Gbg/ma4l9rwlOzR6k0ghxEXEt/7TpDQd5xudThHO9sFySWxogUS5nES5JEyGVaHXhtUUwggIbJVzyCharLg0bICB5fQdXoDEggiJDTaHLhtiboBu8NSg3UxEA5+JMzFiAR0dEgosu3W2OVeQoKotlpjrgWq6XtQBmTLzSChZuvgUVuBUWygBN2xg+NhhISwzrbG4zonIhK4dyIBnz5auExcJIpR/uefISRB7Rsa3iv2XBLskaaBV3wUs80nwWUN+CjZamaxtj2KdYfQtfFt+R1J2CumzUWQndJGY2MLHh3Sd6BOEDTtBSTUYQWNBnxvCkPe4EoGCV2XB399DZJggCyA/c1pjyQ0XKgTcObvRsJPTMLpz+RlCQXrQ7PVQIpRg7vWsGJ8IMHMJgGqeXAzaEI9VjYDOGZmK0ZYy+oYKsYJN4BLgusNJqYYoWVdcuHJAu9GwpciPoV64fThir1ZErSAY+E/UxcwUkbx2BgJStDwobFEIyFUWA30qTYc/KuuHQolLtNO4IANYExNGLwetUFPGPDopJ+qzWogfcZzK9CegqPNu5Fwgkm4Wrjse6azKyl4M/igyY1GbhMKqSA1CQlVV4TL8wUOzyKtMTqZgswi5WnLm3sttBHe31T0XYU1F0mAtYOojVmr12ZhxcHoULbuxsg8DFuODS3GUpsflW2kpw3JfB8SzjEJ3xev+6OZ5PVIHLo0laQJ+i2Xv4bRA9NgCA0A/FB1Fw3hWmeCbHu/7EkeOV9Dm9xJ3Wrv12IGPbxWTK6CRzvkqI5AkgJylIY1naJf8FqvgROdvMc+oQcSKF4l33i0zWSDYqflh5R9ODQQ0N6m5yQ/7ld+SJ+a+VJxX0TT6LU5kJwKTML10w+uMjAJ3z+6GB+LS2Q2r8vnOjIASSj8WJfvdWQAfvmwsLUuH+zIACJh+6NL8cGAJBTvU5ezD+HMg+BnPR8f//MSeFmG2fm9DEgSUnpR7u2ibbzTF7l2ZSuoLl7r4/PkfI+2YWwRghW85GQVoxMsx4xGkpAylQRedURVVV+2bVXutVO7V6wx2k1ibLaeQ8LX+kv2ABleezlLogEJhUK6NKxt9UOAF62/l3tmioQ5nkUJg+ecZCN8pW+4zYDh1ZdHwp/UVYFtx+RS1oZRdARt/JDx9g/YgfvDqMNow4YwISQIjeEAvyBb7R6aA0QTAXCrj5mFqfilQeLgqwQJIFuSClYVkcIwhoTQpZKQ/oRNggQjGDeb2GvQ51oaDBPCzfDyrDn/3XTbeLvXqN1ujib4rJ0+22w223AKqI1Flm+OQBosjmVpLEiLRZ0sbLLD8dh1YmonQYI/gdnCualvw1Xixh1aKy5YIPFxRV4mCdcFmtEMSHhQcfJvezYccaiwfR5un6zau7AMgegENQ/53phwrE5rko52ivqB0glrDjxewuh5jjTtQlcAchSDW9PSRJHQKya7aXXEuBc9QUK5NQ0rCvLLBDDG1+CRhtpxZ6WqjtpkaSQAi5HyjTuBVTrVbrcLIwCa4jQYuYNijX10xEBVwSRwE4HpY+U5N1mZMXjkLNKamwbQDy1UwEoLOVuIUyisewYjeK0hIgHuf5sosZBmnATNVoHQd1Awu9aeCUzJhhuZfAm6gCvmdMkknKaNZkHXlXGr1YQhj6oL/3ZbM0RCXBJc0Ii+A5tYmNhltCMd+VetLvSvEo8TVoyEhLkCfXQoHAOD+UAf7NQzSBi4MCC748LboQJorZnwXa0OxajUvpOXSMJ9sXBIIYHlepX53OqCYtZa8NisYYuXaSQIaPeS/w8svTwiihGotF3OppDQQ3ve5qaHSIBnjeBaUkioKtJObWdXgZsugWAOmBnqof2W9G1np6OwSybhJj1ziOsEqN9hXFQRsiUBkACrbyFPO9OYcE3JMykkBCZUoxX7GSTUVAeq11YPBmU69g7jICdnv60Dfdlqq8sk4bxImznER4cKkQSRTkJMEggJmqJMQqDXKCRM0dEpledIQs0O0B5PdPdXfdQwYXyCCVsS2qO51NEBkHCZvhonYQeTMIZdlCjGFAlCD9ZOLiMSujbc49ihkdBB3eFfGImISMjSCVUTbmzX8J6jvhh0myih/hjqBB8taFoaCd8LlOlTgoSBCQ/LqI17TCQJFWWRBKANYIRlhhRjWdmFgyFNMf4yYYylh2wLuiQ8bDIPXXh43bcmDvHcsRPcQcFYpcHTMZeqGE+Kxdv01TgJvsQNZW2GTmbVJKUma5viIgmgt9gluaogO6Fi32lMlcOnS1im13+MpWoqO2AabAsFaFwxLQli7xcEqKcv2kMw72ph3VTmeHzmijAza2AwQqH/pZFwVCxSvnUniM1Hi3FoioFU/+rD318V9U6Zcv9Ai9GDUTafw6Ygqzh3oleHDakpqjS7myljGGmotkU41BubLnqs0uKDTRdFXMOmDYfIcefRcBZ2OaXdbrso85rrTDw0FMJkxgpZ7VeyxUkAaYYW2Hg5JPwsFiluJdkaxSZ9pYkXfMNFMDretGtYO7BoNfgRAuGbhVpIG3nBsGShQg2mXq9hjFCkRK51fpceH2O6PSnoooppFow0haNfj5Ig71jfICyU+RA8Gp2NZ1hWVN/SRPIsNHnwa9ZygjF7heLTDwm+/1BOP2NiKT8+A54XYlOmpOMjltYLsn1lCs9FMT2RXj8UNz66BP8DSC5bW1OcLkbl1xE3FINx7XC9Pp9Gzsb3TxIACd8/ugT/AzihTB3WDhdr9KnwTOyt+doEhIM1X5uwqvg/iTFxQvjMaxY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5909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4" name="AutoShape 18" descr="data:image/jpeg;base64,/9j/4AAQSkZJRgABAQAAAQABAAD/2wCEAAkGBxMTEhUTEhMWFRUXGBcYGBgYGBcdHhoeHxsXIB0YGyAfICghHx4lGxsdITEiJSotLi4uGSIzODMsNygtLisBCgoKDg0OGhAQGjImICUtLTAtKy0rLS8tLy8tLS0uLS0tLS0tLS4tLS0tLS0tLS0vLTUtLS0tLS0tLS0tLS0tLf/AABEIAKgAwAMBIgACEQEDEQH/xAAcAAACAgMBAQAAAAAAAAAAAAAGBwAFAQMEAgj/xABFEAABAwIDBQUEBwcDAwQDAAABAgMRAAQFEiEGMUFRYQcTInGBMpGhsRQjM0JygtEVUmKSosHwFkNTc7LhRMLT8SQ0Y//EABoBAAIDAQEAAAAAAAAAAAAAAAACAQMEBQb/xAAvEQACAQIEBAMIAwEAAAAAAAAAAQIDEQQSITETQVFhcZGhBRQiMkKB4fBSwdEj/9oADAMBAAIRAxEAPwB41KGsZ29w61K0vXSErROZAkqB00gazruodd7YLRZi1t7u6P8A/JowNeMwR7qAWoxprzNKq47R8RUfq7Blgc37gEnfwSARVJc7UYq4PFfNM7tGGcxG/cVQDw40rmkXRw9SW0R45qq8R2js2JD1yy2RMhS0yI6TNIS8s1PAC5urq4HFK3SEHSPYExvOuatTGC26RCWU+Zkn40rqxL44Cq99Br4j2u4W1OV5Tp4BtCjO7cdB8aorztmUTFthryxB8Tqw37gEqkR1FCaEAbkgeQA+Qr1SOt0RfH2b1l6Fo/2i4u57DdswPJSjv6nlVWMYxYnMrE1g8ktojyjTSpUpeLJmhYCjHdepdWW3WJtaFxi4AH321IJ3cUqOtEFl2pHdcWS08iy4hweZCggj0mgWvDjgTqogeZAo4siJYGj4DhstvLBzTvu7Mx9alSPioR8aIba6Q4nM2tK080kEe8aV82XG0Fsje4CekmsWV7cLVmtLN7Mdzh+qOvIjUjTWDVnEaV5aGGphqUdpn0yFVkGk7hCNo8sh1lPJDsq5ayRPSjTBsevkoSLyxV3kwVMLbUkiPbIUpKhJ0gA8NeUqrB7MySjYL6lVbeOtEEqDiI3lbawOHGIO/gaqsb2/srYStzPzyQR75j0Bp8yBRb2QU1KHtn9trG8gW9whSjuQTlV/KYNEANSKZqVKlAEqVKlACHxbCbvDXri6uLJu7adcU4t9BKlIBUTuWDlABjdHh31m32gtLwQ3dqaV/wAbpyjXhy9QTvp7EUre13s/tnbR66YZSi4bSXJQIzgRmBSNCYnWllBM0UcVOlsC1/hzjOq0nJvzpEpjmYmB1OnWuNCwRmSQQeI1B9aHuz5GIO979DuAnuggltwkpUFZhoIIER0q6xDGO7XGJ2C2FKIH0hglIV5xoriTqT0ql0mdCGPT30OmpWi2tlOibK6auhv7tz6t3ykaE+g8q5H8V7pWS5act1bhnEpPPKoCDw99Lw2aViIc9P3qWQFctziLSPacSPUH5VWX2Et3IlFwvnGbOnzyzND9zszcNmUgLH8P6GiMIvdlVavUhrGF11v/AIX7+1bA0RmcMwAkRPvrfbuYg99lZlA/eckevijSOhrr2a23tmklD7CbdxIGrbZ8XpEg9Dp1rsHaSFaW1o66easoA9wV8YqqbqJ2jT+7ZieJqS+q3ZI122w2Iv8At3KUdGkFXnr4R8avrLslt0nNcuFaubq9fcn5EmqV7arFHdIaZTroSpRHoDH/ANVxOM3Ln2146roiGxHLw6kUuWs95JeH4/0I0atTl5jMtMIwuzEnu09YSn47/jxqHtBsG5DUuEaHu05veRPxpXfs+3bOZSUA78yzJ/q1rTcbS26NAoq6JHy4fGoWH1ve/wC/dlnuqh88khjv9o7pH1NrH/UXl+CZJ9YqtuNsb1f+4lA5NoHzMz8KX9ttC8+rJa2qnFdJVHUgCAPMxRDY7GYm+AXnkWw5JAUr3DT+qrlhyVPDw2TZtv8AElK8b7pO8ytU+6THuoWW+m4cysMLu3B0JSnrA0Hw8zTIwvs5s2zmdC7lfFTyp+A098+dFjLSUJCUJCEjclIAHuFXxgoi1MRKaskkhFpabujCEm3uWTplgQQeY5KG/eDT57LdrF4hZ946jK60stORuUoJSc48wR6zSF2wSGMZXk8ILrajH8QSVe8kn1pn9gy8q8SZ1hDrawOHjDg0HA+EfDlTLR2MtWSnHNbVOz7jeqVKlOZyVKlSgDE0K7ZbY2Fs063cXDeYoWktg5lagiCBJG/jSn2mx96/xC6tlXzrFqyvKltsarA8KxMpJkydZEcDGt5g+x2HhspaAhQyqdIzrAPtRyJGmg039KVzSNFLDTqRzLY1dhOyyvojt0TlLqglEjQpROvqon+WmBd4asAhScySIOkgjkR/4q8wruUNoaYyhCEhKUp4AQN3+b67QancqUnHQUONdntjceIN9yvfnage8Hw/5vqme2exW2GVp1u+Zj7N4CYA0HiJ/wC7hwp33Foheqk+u6q24wTihU9D+tQ0PGaW2h87XqLJa8tww9hlxwUkFTfnlMGPIgda2/s+/bSXGHG71oby2cxHmPaHxp0YzhqinK4yl1B3oWdD5GCJ+fMUt8S2YsO8Hduu4bcGcsnKk/hMwfyr86hq5bGo4u69NPwCTe1DSjluGSkjQyAoD0IkfGup/axhI8OZXQCPnVjtdsxijjSUrDd2kEFLyAkOECd5MEp9+6h/ZDYVy9W6kupZLK8jiVJJWk6j2dOII3jUUvDiP73VjovO2pquNsVn2G0p6qM/ICuVi+vrpWRnvFnk0k6dSRu9abeCdmlixBWlT6+bm7huSNOHGd++iG6xC1tEBK3GmEjcmUp4fuj5xxplGK2QjqVZfNLQUuE9lV27q+tDA4z41eoBj40c4P2a2LEKWhT6ubm7+UafOtV32ksnw2bLt0rUCBkQOpUZPw9ao8axbFXm1qDjduACQhqcxEbs+8acuVDkluwpYec1eEWxhXuI2tmgJccaYSNydE+5I3+cVXWm0LtyJs7Y5JEPPy2gjmlIla/gKE+yuwsbhKnFJLl0kjOXiF79y0A8Op1B47qZ3+f50qRFdnHbWShBdcU6ryyI9EAn+oqrqdUACVEJAGpJ0AG8npQzjm31nbnKF9+5wQ1CteRO4UGY7jl9ftlrIm1ZVvTJUtQ00J005iBNQPFOWkVcG8dvE3uKKcanIpYgniEASryMaeYppdg9wF3OKKG4m2j0D4n4UtrzubJspRq6pJAPHzPIdKffZdsv9AsG21CHV/WO88xA8J/CIHpRF31FrR4ccj33fbsGFSpUpzMSpUqUAD20+xtnfAfSGgVj2XE+FafJQ19DSwxjYrEbBXeW5VeMj90Q8kdRMOact/IU8K8LFQ0nuPCpKm7xYkcG20bd0XqpO+AUrSeMp3g+VG2G7TOKAU2tLyBAUlUhQ/MNQeigZ5ppddtqF3GJNs27ELabCluJSAVFe4qUOACYE66mqQfSreFrHfQNXGjC08/MfOqX8LsmdCNWNaP/AEj9x8M7QWzsIcJZWYyhZykk8ELByqPQHjurseNw1qgB9PFJIQ55pPsqP8JCfxcKTmFbZd4ghaU3DZ0JGULHRaD4VD3eRokwLEjE2F1ASNWHAVoExvSSHG/QgCd1Op9SieE5wYd220tutzuVq7l4/wC08Miju9mdFjWJSSJFbsRwJh5JQ42kpO8EAg+h0oUuNqmFt91itqltBMFZAdYMyJzQCj8wG8CTXQ3glwhIdwm+BaIlLL0utHohebMgRIjxDduin0ZlalF2ZQ4r2YPMkuYVdKtyZlkkltXoZAOu+D6UD4K7fMY2hN20GnH0qSsAQlaQkkLEGDqka9N1NFPaGbdQbxS1csySEh0fWMqPRYGmmsEc6W23+ODEcYtm7ByC2kID6NfakrWN0hKSeOuu6gE2MXEMMS8IUt0Dk24tH/YQfjSa7QtnEWFy262jMy5rlUSrxJjMkk66gg+vSmQLa3sQHLy+dcXl0LrqgD+FtJiJ3TJ60G9om2Dd3bFtq3WpvMlQeX4QI3FCd5mSJMb92tQWvrzGAwLNkFoCARrpuB4SBAPlXDj1i23kLZPik666aRHvqlw8w22ViYSiQZB3CQZ13iiTHrxtTCHCmCoGJ4AaqPlWBvNfQ9bCDozg0209+mws2S5Y4iV2qW1qcbWQlRgJzEST0kTHI11Ymm4uJN7dEonVtHgb9efrQqMfWbh11CMy3DlQNTCeAAG8xHxq1Y2UuropVcLyzuREqHQDcK1SeVLM7Hnb0pTk4Rvq7LlY1u49bsDLbNhR3TuHqd6q58Jxhl54/T37ltqIAtggRzKpPsgcAFE9OJ1hXZqyj2wFHmoz8BAoqtcBZQnLEjloB7hpWSWPpR2Vx3QrTVm7Loin2H2c2fLyXm7xT7iSkpRcLSmFcFZcqZPnO6nQFUqL/ZGydHjtm/NIyn3pqo/0m5aSbHEHrYb+7UQpE8wDpw4g1ZT9oUpaO6M0sFUW2o8JqTSbstvcVY+1bt7tP8JLSvfBHrFFuzHaK1dOpt1sP27yholYBSoiZyrToYjiBWuM4y2ZmlTnHdBxUrCazTiGFUqbLbDE7pjv0Ls2GpyyEuuqBBIIKZgHdoTxFNZVKnHbJOGX+eIsb85XBHhafO5W/RKwd/6U0Em7MCq2evXF314t97vVdywcwbDYgFzQJClaDnPGrLDMSZvVOgJENKCM06zEmD7vjQZtyw5YXKbhEkQW18Mw3on1Bn8NcXZrcqQ04pJ8QcJOvNKBqORM+6ubj8Hac6nhY6OEr6Rp+IT47sQhZ7xslKx99HhUPPgoUJXjTzJl9ClhJ8L7UpcR1IHiHp7jTYsb0OiU6Eb08uvlXu6tEOe0NeY0NYKWNnTdp6o2OknqtBf4VtdcITPhvGuJBCXQOv3VeoE1Z4S5avrK8OuFWdyfaCBlzaGA40fCsSTu15HnpxvYiVFxlRQv95sCT+JO5X+bqEMVtCNLxoEDTv2wZH4hvHxrp0q8J6xZTOLStJfvZ7oab+2N6w2pu8sBeoUFALt9yj91LjRBKQeKhMcjS6wTZXEQ84+hKbMuTogJlAJByo1OXdG+a92e015ao7wOJvLcfvHxgcs2vvM1yYt2oXLghhtLI5k51e8gD4VoTk9jK4UIO8r+H5Lo7HpYSXnlIni48uSSBzPHoKFcavUXa2bdkyVupEwYk+EdfvTXBa4Td3qu9WVGf9xwnd/DzHQaVe7M4IhnE2kznDKC8okASQkxA4QSOdKsqer1LHUlOOSEbRbSGE9bhy5UlGiSojyA3mqXtTve5bUkcUpaQBwkSfhRBs3cQ7lyypX3piBqTw46UI7VnvsUaCjKUBbgHUGNfcDWWna1/H0O3jZzgnFco2X30ubMAwhLDaEJQO8IAUQNSeImjfC8ODYk+0ePAdBQeraZm3BPeozfzHyETVDifaIkmEoW51Uco9AJn1is06NaszncWnSVrjTfxBtG9YPlr8qr7raBKRKUwOa1AD/PWk4/tdduqCUQknQBCZJ6DeTWy22RxK6IUpl0z9545fXxax5CrKfs1fUyiWOX0oOcS28aTIL48mxP+e+hW+2+JP1bR/EtUn3D9ascP7IblWrz7bXQBSyPkPjV32RYBbMYndh51KlW2VDIcCU5iomVgEkSkJA4+0K1wwtKPIzTxVV9gdwrC8ZxGCy0tDaty/s0QeIUfEodUzTB2M7HF21w3d3F2pTqFBQS2OPJS1SVCJEADzptA17mtKilsZpTct2YQK9VKlSKYIqn2uwlq5s3mXhmQpCj1BAkEdQQDVLt5tqbB21ZShtRuS4kLcWpKWynuwkqCUqJBK44RG+hftJxJxu2Uq7ulnPKG2LdJaStRAgKVKlqAOvtJndBqVFsAf2Gx36fa9w4ZuGAMpnVxHLqYH+TVdi2CZiHrYhl5M6jQKB4Kiu7DcLbXhNriFhIeswpL6BqViczkwPaE5h0NWj1yl9KX24IWJVAiCePOFb/ADkVqptVI5ZEap3QMbP7V/Wd099S+nQzoFc/Xpu5UeWWNA6ODKeY3H9KEcawJq5T4xChuWN4/UdDQ+3e3FgQi4Hes6AODeOh/Q+lcnGezF80ToYfG2+GY5AZ6zuoffdbfvU27YzqSjM7+7qQEJ6kmZ5AceFVhuJZ0AsuShWmh/yCK2diqw+9dXBEKU5pPBKU+EefiM+lcynhsuaT5bGnEVrRSi9zuxvsuaWhxxCxarIM92MyVTwUnQQenxoOsNjWbdRDh75aTEkeGeif1pmX+Ll6/eYCvBbNtyAfaW7JzHllSgAb/bmsKtm0KW4RJ1Mnh0FPPETpvJf98SvD0YyjnaBNQjfpu0j+1UWyS2rjELlxvUJtzlO6TKZNeMexsqt7l0HestpPOYCiOkz6Jrqw3ZdWE3Vm6twKS8VW750ypUoHKEydxjef3TzArdh6Ts29wq1stSNtk0wissTSwlbpgECATuHEqPlpQFtfZ/Sctw04lSEjK5GsCZKjHAcRHDjV3tLZOvLbsm9FurIUo/dQiMxPvGlF9psBZN5e7bWlQgZ0rWFKjiYPHiN1TRg7KR0PaOKhxJUrXTtd317W8P7BTDuyBBhT10VJI3NIA37iFKJ0j+HjRRh3Z5h7UHuO8PNxRV8N3wq7aeYYCWA4mUiAicy4G7wiVfCu1CpEwR51quzhqC5Gqzs22gA02hsfwpCflXHe48w2ooz53Bp3bYLi+G9KQSN43xE13XJTklyAjiVRHWZ099DdxttZtDJb5nyNMluiQPXRIFRcl9jXc4xiTulrZBkQCHLlaZO/7iZjduJNBV/g17YvrurkJfad+2cbEhMkbwQOnDhRDdbR4i9o221ap/iJdX/ZNC2KG2zZ727XdOCSApRIExOVKdBMDTpSSqR238B1SkrS28QswjGXUJzWlypKTuHtt+WRR037kxRBadpr7X/7dp3iBvdtiSfMtK15kwo+VKFzbBtsZLW3Sgc1RJ9E/wBzxqys9lcaxCPqlttniv6pPuPiIMcqSlGqn277hVlRku/Y+itm8eZvWA/bqKmySJIIMjQgg61aUH9l+ybuG2imHXQ6pThc8OaEylIyieoJ4b6MK0mMCe1fZX6fYLSkS81LjUbyQDKfzJ0jnHSgzCHE41g5aVHfJGQk8HEiUL/MCPeqnRSWxVv9k42Feza4hv5JcnU+ilAzwDpp6bs7dQZ09ld9M3O7vSLe/aP3Hk6Nv5SBo4CQv+LnrFZjeEfs68VazFvcZnbc/uEEFbPKEmFD/wA1bOufsvF0XB0tb8909vhDo9lZ85+K9dDR7trs4L61UzOVwQtlfFtwTlUPkehNCbhMBVWz5UmSIWNFDfB5A8uIPIihy72wbC1Mqt3CqcpT4TPTrOkc670XagC6tBQ42e6uUaSMsyeuWSoR91R36VXbbYL3qPpDUZ0CTH3k75EcRw6E8q1ylJq8RbLmcVpht0HO+sbZ9sb1IdCQk8RAJkz5etdXZxtD+ynl/SmXG0ulAkpIAy59IOp0XvB4DzpkdlmLIvmSpYSpaEhKwdYM+1+bf76LMYwBt5soyI/CQCFdCK4FTETk5KcfI0W0VmK7YjFUv4libgUFBxwFBG5SEqcCSPyZaJdrXctq4eh38dDpQJjmDHC7xD7aFoYUFByAT3Z8+RkR60QjGBcslOZK0HQlO+OR9KzV6earGrHbT0N+GmuG4c1cW+MNqTh1skDwkqUo8iQSkesn3UW7c9olpcsO27TS3M+5aoQEneFAGVEggaQOOtVey/dvNKs7kZiyuCkGCUg/dPQgieRFMPDV2NqmbdgJMDckZvMqOvuNdKNSMW1J9/MzSpzkk47beQJ4FaYg+q3WQbd5KXE9662o5kEAFWUgeLwjRW/Q7jRgjZgZc15dPXOnizr7tr1QkhMfiJrmu9o3CCRlaTxMgn1UYAPpQbi21dtMuLNwobvvR5T4R6VCrLaKuWTg3ZzdtEvIPW8btLdOS1RmAHssIASfNWiCfU1WXe0FyseHu7dI3kHvFx5kJQn3Kpa3+3LqvskJQNdVeI/2FcIacufFcXbYG+FKzR+VOgqXxHvp6lTnSW2voFGK4naAzcPKulj95XeR+Eewn0qpu9uTGVhkISN2Yz/SAAPjVhY7J2iAS4XXT+BaR6ACfjVRjOz5WoG0tXUpAIOcjXkRKpohTUnqm/ER4iS+XTwKTEMWee+0cUQfuzCfdupgbDbH4c8hLtw466DvDcJSk8UqHtyPP0riVse06yCltVu7yKioTyOu48CPdQ1Z3Fzh7+6D95JnK4n+/nwNapUnBFOa7vI+m9l8Nw1mBaNMoP4QFz5nWieaSOC4m3ctJdb3HQg70kb0nrBFOHBj9Q1z7tHyFIiZRtqjuqVgGs1IhiKFu0jZcYhYuMj7QeNo6aLA094lP5qKqwqgBM7OvpxnCl27xh5ENrJ3pWPYcI6xr5Ko67NscVdWSA79uySy+DvC0aa+YgzxmgnadoYVjKLkeG1v5Q7wShwR4jwGpCvVR4GiC0T9DxIOjRm9AadHBLyAe6V+YZk+YHMVbL4436AV3ahg30d0Yi0PArK3dAcphD35dx6EcjQZYudy79HV7CgVsGOE+JvrlkR0NfQF3bIcQpC0hSVJKVA7iCIINIPHNnVMrXh61HM3Dtq6reUScp0+8g+FUdPKmoz5ENFaNnH2nXHLO7XbByCUozD0kKEiSY866Bh2IccWufQr/wDkrFhtOyUfXrS26klK0ngoGDEcJrD22Noncsq04JUasdOi3dkXZ1Lwx9Xt4heKHIuz86rv9IJQSu3fdbc4EwQehAArQ7t6wPZbcPnlGvvNcTvaEfu24H4nJ+SRUNUFyJu0V+N2F4h8OBo5xrnZSogkb1EAaHmONdh2hv3vC0zlMakIPvlWgrT/AK2unDlbbRmOgCUlRJ6CZrpbexl4jI08J0+yyifNQ099Z5U6LZYqk1szCNkLp85rl4DzJWR0iQB5VdWex1q1qtJX1cOnuECqxOyeNPe13iQdPE6APUJNb2uyi9Xq460k8SVKVA91Op047IXLJlxksmuDCY55DXle09oj/eT+ST8hWm27HFad5dpHPI0Vaeqh8qtLXshtRGd99ZnWAhAPSIJ+NN7z2QcNlfb7VWip+tA/EFD5iuO423tk7s69fupA+ZoxtezPDkHVpSyP31qPwECrS22NsERltWpBkEpk/GoeJkNwmKp7tATPgtyQOKlwemgSY99erHGEYgFW76EoURLahJ14793Dz1pm45sRZXKcpZS2oTlW2AkjzjQieBpN4Thy7bE0sORmbWoGNx8BgjoRB9ahVZSaTYsoWCPs3zNrubZYgpKFfMH09kimLY4q8z9msgct49xpd7PoV+1rkjcEajXiER8aN6pnpJlsNY6hph22STo8jL/EnUe7ePjRHaXqHBLagodD86VFXeyli4t5LiQQlB8SuH4etQmRKCtcYtSpUpioH9utnk39m7bKjMoS2TwWPZPv08iaA9jr79oWBYeJRcMHunP323EH6t0fxBSQfNJHCm0pNJrbRQwvGmrr2be9Tld4AKSUgrPlKVeWarKcrS1Aaez98p5hC1gJcjK4kbgtOigOkgkdIqq262QTiDSEhzuHmyS28E5igGAtMSJCh13gHhW/B0928qIyu6q/6iQBPqgQfwDnWvbza9nDrZTrhHeKCgyjitQHL90SCTyPWllHK7MD58wTYXvMSfsnFqyMFedaBBIBhOhmJkaa+u+mBadlVgnel5w6zmWfjlA+VDOEbFOOTc3OJdw66St1LakSZM+JQcAB4xBAq1OyeFqgv367jKDHeXKSBPKII9/CkLIrTYImdiMOagG2bETHeEk/1HWulFth7EQm1a4ie6B8xJmhq2tdn2xoq1VH7yird5mrCx2kwds/UqYSeGVuD1ghM1A90EbGKMHwtuoO4w2cw13E5JArtoaTtzaKHhL5A5W7+nT2a9ja9s7mLj+RH91VOWT2ROZBFWKHm9qgf/TPDzLX9l+teU7Tr1//ABwIMCXuHPRsx5TTKlPoRnXUIwalUCdojmMtDJwhWvr4YqK2jVwbH8xP9hTKhN8g4kQgisUNO7SKGsNpG7Xny1NV17e3Dn/qHGxybDaefNBPHnU+7z2/sV1UGlw8G0KcVohCSpR6DfSY2Wti++7iD4grWooHKZk+QEJHkasL7ZNLurz9y7ExnczRPKRWvaG97ttNpbpl1aciUD7id0nlpz6mnhT4fxSK5zzHvYBRdN1cne64AOgSDp/UB+Wi+qvZnCjbW6GScyhJJAO8kmBz3x6Uwtndl5hb45Q2fmr9Kzbu5cnlicGz2zin4WuUt8OavLp191HbDCUJCUJAA3AaVtSIrNMipybJUqVKBSUFdrWz30zDnUgS439a3xMpBkDzTI9aNawRQAqeynaP6VZozEF23KULB10A8Cz5gR5pNce1XZ6q9uFXL1wt0kQASEhAmQlIAOg6njQPjbr2BYq+lhKShwShJBylCjKQIP3VSAenpXUO0zFXiCzbIjdo0tQJ8ydPKavjUhb4kRqd6+zdpvVVutUccylT5gGvDezlqP8AYR6iT864v2/j7o0+r135W0kdNZPwrW9YYy+ZeuwJA+8P/amm4tP+JOWRfNYe0PZaRPRCf0rdokcEgeQAFCv+hrlYh2+VHL6xcH1UK3NdnDA9t51R6BKfnmqPeUtkTwpF47iTKRq82Pzp/sa5ntorVMy+jTeAZ91YZ2Fsgfs1K3b1q/WrBnZ20SZFu2D+H9aPen0GVFlK7thZj/cJ5wlX6VhvalC/smLh3fBQ1ofLWaKmbdCPYQhPHwpSPkK2lXM0jxMyeCuYLoxS5VBRYuEEffcQiPSCflW2L5Y8LLLZI0KnCqN28BIojqUrr1HzG4MQDv8AYe4e8b12lS+AyqygcgZ091aLXYu9SMouu7TwCVufIUw6lV5mTw0A6Oz7N9tduL4kBO/1Kj8qJdmtmG7fwMJUpa95MFRHLQCBV7hmHLfXkbE8zwTv1NMHBsGbt0wnVR9pR3noOQo1ZDyx2OPZ/ZxLMLchTnwT0HM9aIAKkVmpKm7kqVKlBBKlSpQBKlSpQBxX+GNPCHEAngeI8jvqoOxzJ3qc/mH6VipQSm1se29j2BvK1fmj5Ctn+krb91X86qlSgMz6m3/TFr/x/wBSv1r0jZu2H+0D5kn+9ZqVFguz1+wLb/hT8a2jB2P+Fv8AlT+lZqVIXZ6RhjI3NIH5U/pXo2Lf/Gj+VP6VKlBFzju9nrdze2AeadP/ABVFe7FkatOT0WP7j9KxUqLDKTRTu7O3KTHdE9RBFddjsm+pQzgNp4mQT6AcalSiw3EYb4fYoZQENiB8SeZ611VKlSVkqVKlAEqVKlAH/9k="/>
          <p:cNvSpPr>
            <a:spLocks noChangeAspect="1" noChangeArrowheads="1"/>
          </p:cNvSpPr>
          <p:nvPr/>
        </p:nvSpPr>
        <p:spPr bwMode="auto">
          <a:xfrm>
            <a:off x="0" y="0"/>
            <a:ext cx="2286000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5" name="AutoShape 20" descr="data:image/jpeg;base64,/9j/4AAQSkZJRgABAQAAAQABAAD/2wCEAAkGBxMTEhUTEhMWFRUXGBcYGBgYGBcdHhoeHxsXIB0YGyAfICghHx4lGxsdITEiJSotLi4uGSIzODMsNygtLisBCgoKDg0OGhAQGjImICUtLTAtKy0rLS8tLy8tLS0uLS0tLS0tLS4tLS0tLS0tLS0vLTUtLS0tLS0tLS0tLS0tLf/AABEIAKgAwAMBIgACEQEDEQH/xAAcAAACAgMBAQAAAAAAAAAAAAAGBwAFAQMEAgj/xABFEAABAwIDBQUEBwcDAwQDAAABAgMRAAQFEiEGMUFRYQcTInGBMpGhsRQjM0JygtEVUmKSosHwFkNTc7LhRMLT8SQ0Y//EABoBAAIDAQEAAAAAAAAAAAAAAAACAQMEBQb/xAAvEQACAQIEBAMIAwEAAAAAAAAAAQIDEQQSITETQVFhcZGhBRQiMkKB4fBSwdEj/9oADAMBAAIRAxEAPwB41KGsZ29w61K0vXSErROZAkqB00gazruodd7YLRZi1t7u6P8A/JowNeMwR7qAWoxprzNKq47R8RUfq7Blgc37gEnfwSARVJc7UYq4PFfNM7tGGcxG/cVQDw40rmkXRw9SW0R45qq8R2js2JD1yy2RMhS0yI6TNIS8s1PAC5urq4HFK3SEHSPYExvOuatTGC26RCWU+Zkn40rqxL44Cq99Br4j2u4W1OV5Tp4BtCjO7cdB8aorztmUTFthryxB8Tqw37gEqkR1FCaEAbkgeQA+Qr1SOt0RfH2b1l6Fo/2i4u57DdswPJSjv6nlVWMYxYnMrE1g8ktojyjTSpUpeLJmhYCjHdepdWW3WJtaFxi4AH321IJ3cUqOtEFl2pHdcWS08iy4hweZCggj0mgWvDjgTqogeZAo4siJYGj4DhstvLBzTvu7Mx9alSPioR8aIba6Q4nM2tK080kEe8aV82XG0Fsje4CekmsWV7cLVmtLN7Mdzh+qOvIjUjTWDVnEaV5aGGphqUdpn0yFVkGk7hCNo8sh1lPJDsq5ayRPSjTBsevkoSLyxV3kwVMLbUkiPbIUpKhJ0gA8NeUqrB7MySjYL6lVbeOtEEqDiI3lbawOHGIO/gaqsb2/srYStzPzyQR75j0Bp8yBRb2QU1KHtn9trG8gW9whSjuQTlV/KYNEANSKZqVKlAEqVKlACHxbCbvDXri6uLJu7adcU4t9BKlIBUTuWDlABjdHh31m32gtLwQ3dqaV/wAbpyjXhy9QTvp7EUre13s/tnbR66YZSi4bSXJQIzgRmBSNCYnWllBM0UcVOlsC1/hzjOq0nJvzpEpjmYmB1OnWuNCwRmSQQeI1B9aHuz5GIO979DuAnuggltwkpUFZhoIIER0q6xDGO7XGJ2C2FKIH0hglIV5xoriTqT0ql0mdCGPT30OmpWi2tlOibK6auhv7tz6t3ykaE+g8q5H8V7pWS5act1bhnEpPPKoCDw99Lw2aViIc9P3qWQFctziLSPacSPUH5VWX2Et3IlFwvnGbOnzyzND9zszcNmUgLH8P6GiMIvdlVavUhrGF11v/AIX7+1bA0RmcMwAkRPvrfbuYg99lZlA/eckevijSOhrr2a23tmklD7CbdxIGrbZ8XpEg9Dp1rsHaSFaW1o66easoA9wV8YqqbqJ2jT+7ZieJqS+q3ZI122w2Iv8At3KUdGkFXnr4R8avrLslt0nNcuFaubq9fcn5EmqV7arFHdIaZTroSpRHoDH/ANVxOM3Ln2146roiGxHLw6kUuWs95JeH4/0I0atTl5jMtMIwuzEnu09YSn47/jxqHtBsG5DUuEaHu05veRPxpXfs+3bOZSUA78yzJ/q1rTcbS26NAoq6JHy4fGoWH1ve/wC/dlnuqh88khjv9o7pH1NrH/UXl+CZJ9YqtuNsb1f+4lA5NoHzMz8KX9ttC8+rJa2qnFdJVHUgCAPMxRDY7GYm+AXnkWw5JAUr3DT+qrlhyVPDw2TZtv8AElK8b7pO8ytU+6THuoWW+m4cysMLu3B0JSnrA0Hw8zTIwvs5s2zmdC7lfFTyp+A098+dFjLSUJCUJCEjclIAHuFXxgoi1MRKaskkhFpabujCEm3uWTplgQQeY5KG/eDT57LdrF4hZ946jK60stORuUoJSc48wR6zSF2wSGMZXk8ILrajH8QSVe8kn1pn9gy8q8SZ1hDrawOHjDg0HA+EfDlTLR2MtWSnHNbVOz7jeqVKlOZyVKlSgDE0K7ZbY2Fs063cXDeYoWktg5lagiCBJG/jSn2mx96/xC6tlXzrFqyvKltsarA8KxMpJkydZEcDGt5g+x2HhspaAhQyqdIzrAPtRyJGmg039KVzSNFLDTqRzLY1dhOyyvojt0TlLqglEjQpROvqon+WmBd4asAhScySIOkgjkR/4q8wruUNoaYyhCEhKUp4AQN3+b67QancqUnHQUONdntjceIN9yvfnage8Hw/5vqme2exW2GVp1u+Zj7N4CYA0HiJ/wC7hwp33Foheqk+u6q24wTihU9D+tQ0PGaW2h87XqLJa8tww9hlxwUkFTfnlMGPIgda2/s+/bSXGHG71oby2cxHmPaHxp0YzhqinK4yl1B3oWdD5GCJ+fMUt8S2YsO8Hduu4bcGcsnKk/hMwfyr86hq5bGo4u69NPwCTe1DSjluGSkjQyAoD0IkfGup/axhI8OZXQCPnVjtdsxijjSUrDd2kEFLyAkOECd5MEp9+6h/ZDYVy9W6kupZLK8jiVJJWk6j2dOII3jUUvDiP73VjovO2pquNsVn2G0p6qM/ICuVi+vrpWRnvFnk0k6dSRu9abeCdmlixBWlT6+bm7huSNOHGd++iG6xC1tEBK3GmEjcmUp4fuj5xxplGK2QjqVZfNLQUuE9lV27q+tDA4z41eoBj40c4P2a2LEKWhT6ubm7+UafOtV32ksnw2bLt0rUCBkQOpUZPw9ao8axbFXm1qDjduACQhqcxEbs+8acuVDkluwpYec1eEWxhXuI2tmgJccaYSNydE+5I3+cVXWm0LtyJs7Y5JEPPy2gjmlIla/gKE+yuwsbhKnFJLl0kjOXiF79y0A8Op1B47qZ3+f50qRFdnHbWShBdcU6ryyI9EAn+oqrqdUACVEJAGpJ0AG8npQzjm31nbnKF9+5wQ1CteRO4UGY7jl9ftlrIm1ZVvTJUtQ00J005iBNQPFOWkVcG8dvE3uKKcanIpYgniEASryMaeYppdg9wF3OKKG4m2j0D4n4UtrzubJspRq6pJAPHzPIdKffZdsv9AsG21CHV/WO88xA8J/CIHpRF31FrR4ccj33fbsGFSpUpzMSpUqUAD20+xtnfAfSGgVj2XE+FafJQ19DSwxjYrEbBXeW5VeMj90Q8kdRMOact/IU8K8LFQ0nuPCpKm7xYkcG20bd0XqpO+AUrSeMp3g+VG2G7TOKAU2tLyBAUlUhQ/MNQeigZ5ppddtqF3GJNs27ELabCluJSAVFe4qUOACYE66mqQfSreFrHfQNXGjC08/MfOqX8LsmdCNWNaP/AEj9x8M7QWzsIcJZWYyhZykk8ELByqPQHjurseNw1qgB9PFJIQ55pPsqP8JCfxcKTmFbZd4ghaU3DZ0JGULHRaD4VD3eRokwLEjE2F1ASNWHAVoExvSSHG/QgCd1Op9SieE5wYd220tutzuVq7l4/wC08Miju9mdFjWJSSJFbsRwJh5JQ42kpO8EAg+h0oUuNqmFt91itqltBMFZAdYMyJzQCj8wG8CTXQ3glwhIdwm+BaIlLL0utHohebMgRIjxDduin0ZlalF2ZQ4r2YPMkuYVdKtyZlkkltXoZAOu+D6UD4K7fMY2hN20GnH0qSsAQlaQkkLEGDqka9N1NFPaGbdQbxS1csySEh0fWMqPRYGmmsEc6W23+ODEcYtm7ByC2kID6NfakrWN0hKSeOuu6gE2MXEMMS8IUt0Dk24tH/YQfjSa7QtnEWFy262jMy5rlUSrxJjMkk66gg+vSmQLa3sQHLy+dcXl0LrqgD+FtJiJ3TJ60G9om2Dd3bFtq3WpvMlQeX4QI3FCd5mSJMb92tQWvrzGAwLNkFoCARrpuB4SBAPlXDj1i23kLZPik666aRHvqlw8w22ViYSiQZB3CQZ13iiTHrxtTCHCmCoGJ4AaqPlWBvNfQ9bCDozg0209+mws2S5Y4iV2qW1qcbWQlRgJzEST0kTHI11Ymm4uJN7dEonVtHgb9efrQqMfWbh11CMy3DlQNTCeAAG8xHxq1Y2UuropVcLyzuREqHQDcK1SeVLM7Hnb0pTk4Rvq7LlY1u49bsDLbNhR3TuHqd6q58Jxhl54/T37ltqIAtggRzKpPsgcAFE9OJ1hXZqyj2wFHmoz8BAoqtcBZQnLEjloB7hpWSWPpR2Vx3QrTVm7Loin2H2c2fLyXm7xT7iSkpRcLSmFcFZcqZPnO6nQFUqL/ZGydHjtm/NIyn3pqo/0m5aSbHEHrYb+7UQpE8wDpw4g1ZT9oUpaO6M0sFUW2o8JqTSbstvcVY+1bt7tP8JLSvfBHrFFuzHaK1dOpt1sP27yholYBSoiZyrToYjiBWuM4y2ZmlTnHdBxUrCazTiGFUqbLbDE7pjv0Ls2GpyyEuuqBBIIKZgHdoTxFNZVKnHbJOGX+eIsb85XBHhafO5W/RKwd/6U0Em7MCq2evXF314t97vVdywcwbDYgFzQJClaDnPGrLDMSZvVOgJENKCM06zEmD7vjQZtyw5YXKbhEkQW18Mw3on1Bn8NcXZrcqQ04pJ8QcJOvNKBqORM+6ubj8Hac6nhY6OEr6Rp+IT47sQhZ7xslKx99HhUPPgoUJXjTzJl9ClhJ8L7UpcR1IHiHp7jTYsb0OiU6Eb08uvlXu6tEOe0NeY0NYKWNnTdp6o2OknqtBf4VtdcITPhvGuJBCXQOv3VeoE1Z4S5avrK8OuFWdyfaCBlzaGA40fCsSTu15HnpxvYiVFxlRQv95sCT+JO5X+bqEMVtCNLxoEDTv2wZH4hvHxrp0q8J6xZTOLStJfvZ7oab+2N6w2pu8sBeoUFALt9yj91LjRBKQeKhMcjS6wTZXEQ84+hKbMuTogJlAJByo1OXdG+a92e015ao7wOJvLcfvHxgcs2vvM1yYt2oXLghhtLI5k51e8gD4VoTk9jK4UIO8r+H5Lo7HpYSXnlIni48uSSBzPHoKFcavUXa2bdkyVupEwYk+EdfvTXBa4Td3qu9WVGf9xwnd/DzHQaVe7M4IhnE2kznDKC8okASQkxA4QSOdKsqer1LHUlOOSEbRbSGE9bhy5UlGiSojyA3mqXtTve5bUkcUpaQBwkSfhRBs3cQ7lyypX3piBqTw46UI7VnvsUaCjKUBbgHUGNfcDWWna1/H0O3jZzgnFco2X30ubMAwhLDaEJQO8IAUQNSeImjfC8ODYk+0ePAdBQeraZm3BPeozfzHyETVDifaIkmEoW51Uco9AJn1is06NaszncWnSVrjTfxBtG9YPlr8qr7raBKRKUwOa1AD/PWk4/tdduqCUQknQBCZJ6DeTWy22RxK6IUpl0z9545fXxax5CrKfs1fUyiWOX0oOcS28aTIL48mxP+e+hW+2+JP1bR/EtUn3D9ascP7IblWrz7bXQBSyPkPjV32RYBbMYndh51KlW2VDIcCU5iomVgEkSkJA4+0K1wwtKPIzTxVV9gdwrC8ZxGCy0tDaty/s0QeIUfEodUzTB2M7HF21w3d3F2pTqFBQS2OPJS1SVCJEADzptA17mtKilsZpTct2YQK9VKlSKYIqn2uwlq5s3mXhmQpCj1BAkEdQQDVLt5tqbB21ZShtRuS4kLcWpKWynuwkqCUqJBK44RG+hftJxJxu2Uq7ulnPKG2LdJaStRAgKVKlqAOvtJndBqVFsAf2Gx36fa9w4ZuGAMpnVxHLqYH+TVdi2CZiHrYhl5M6jQKB4Kiu7DcLbXhNriFhIeswpL6BqViczkwPaE5h0NWj1yl9KX24IWJVAiCePOFb/ADkVqptVI5ZEap3QMbP7V/Wd099S+nQzoFc/Xpu5UeWWNA6ODKeY3H9KEcawJq5T4xChuWN4/UdDQ+3e3FgQi4Hes6AODeOh/Q+lcnGezF80ToYfG2+GY5AZ6zuoffdbfvU27YzqSjM7+7qQEJ6kmZ5AceFVhuJZ0AsuShWmh/yCK2diqw+9dXBEKU5pPBKU+EefiM+lcynhsuaT5bGnEVrRSi9zuxvsuaWhxxCxarIM92MyVTwUnQQenxoOsNjWbdRDh75aTEkeGeif1pmX+Ll6/eYCvBbNtyAfaW7JzHllSgAb/bmsKtm0KW4RJ1Mnh0FPPETpvJf98SvD0YyjnaBNQjfpu0j+1UWyS2rjELlxvUJtzlO6TKZNeMexsqt7l0HestpPOYCiOkz6Jrqw3ZdWE3Vm6twKS8VW750ypUoHKEydxjef3TzArdh6Ts29wq1stSNtk0wissTSwlbpgECATuHEqPlpQFtfZ/Sctw04lSEjK5GsCZKjHAcRHDjV3tLZOvLbsm9FurIUo/dQiMxPvGlF9psBZN5e7bWlQgZ0rWFKjiYPHiN1TRg7KR0PaOKhxJUrXTtd317W8P7BTDuyBBhT10VJI3NIA37iFKJ0j+HjRRh3Z5h7UHuO8PNxRV8N3wq7aeYYCWA4mUiAicy4G7wiVfCu1CpEwR51quzhqC5Gqzs22gA02hsfwpCflXHe48w2ooz53Bp3bYLi+G9KQSN43xE13XJTklyAjiVRHWZ099DdxttZtDJb5nyNMluiQPXRIFRcl9jXc4xiTulrZBkQCHLlaZO/7iZjduJNBV/g17YvrurkJfad+2cbEhMkbwQOnDhRDdbR4i9o221ap/iJdX/ZNC2KG2zZ727XdOCSApRIExOVKdBMDTpSSqR238B1SkrS28QswjGXUJzWlypKTuHtt+WRR037kxRBadpr7X/7dp3iBvdtiSfMtK15kwo+VKFzbBtsZLW3Sgc1RJ9E/wBzxqys9lcaxCPqlttniv6pPuPiIMcqSlGqn277hVlRku/Y+itm8eZvWA/bqKmySJIIMjQgg61aUH9l+ybuG2imHXQ6pThc8OaEylIyieoJ4b6MK0mMCe1fZX6fYLSkS81LjUbyQDKfzJ0jnHSgzCHE41g5aVHfJGQk8HEiUL/MCPeqnRSWxVv9k42Feza4hv5JcnU+ilAzwDpp6bs7dQZ09ld9M3O7vSLe/aP3Hk6Nv5SBo4CQv+LnrFZjeEfs68VazFvcZnbc/uEEFbPKEmFD/wA1bOufsvF0XB0tb8909vhDo9lZ85+K9dDR7trs4L61UzOVwQtlfFtwTlUPkehNCbhMBVWz5UmSIWNFDfB5A8uIPIihy72wbC1Mqt3CqcpT4TPTrOkc670XagC6tBQ42e6uUaSMsyeuWSoR91R36VXbbYL3qPpDUZ0CTH3k75EcRw6E8q1ylJq8RbLmcVpht0HO+sbZ9sb1IdCQk8RAJkz5etdXZxtD+ynl/SmXG0ulAkpIAy59IOp0XvB4DzpkdlmLIvmSpYSpaEhKwdYM+1+bf76LMYwBt5soyI/CQCFdCK4FTETk5KcfI0W0VmK7YjFUv4libgUFBxwFBG5SEqcCSPyZaJdrXctq4eh38dDpQJjmDHC7xD7aFoYUFByAT3Z8+RkR60QjGBcslOZK0HQlO+OR9KzV6earGrHbT0N+GmuG4c1cW+MNqTh1skDwkqUo8iQSkesn3UW7c9olpcsO27TS3M+5aoQEneFAGVEggaQOOtVey/dvNKs7kZiyuCkGCUg/dPQgieRFMPDV2NqmbdgJMDckZvMqOvuNdKNSMW1J9/MzSpzkk47beQJ4FaYg+q3WQbd5KXE9662o5kEAFWUgeLwjRW/Q7jRgjZgZc15dPXOnizr7tr1QkhMfiJrmu9o3CCRlaTxMgn1UYAPpQbi21dtMuLNwobvvR5T4R6VCrLaKuWTg3ZzdtEvIPW8btLdOS1RmAHssIASfNWiCfU1WXe0FyseHu7dI3kHvFx5kJQn3Kpa3+3LqvskJQNdVeI/2FcIacufFcXbYG+FKzR+VOgqXxHvp6lTnSW2voFGK4naAzcPKulj95XeR+Eewn0qpu9uTGVhkISN2Yz/SAAPjVhY7J2iAS4XXT+BaR6ACfjVRjOz5WoG0tXUpAIOcjXkRKpohTUnqm/ER4iS+XTwKTEMWee+0cUQfuzCfdupgbDbH4c8hLtw466DvDcJSk8UqHtyPP0riVse06yCltVu7yKioTyOu48CPdQ1Z3Fzh7+6D95JnK4n+/nwNapUnBFOa7vI+m9l8Nw1mBaNMoP4QFz5nWieaSOC4m3ctJdb3HQg70kb0nrBFOHBj9Q1z7tHyFIiZRtqjuqVgGs1IhiKFu0jZcYhYuMj7QeNo6aLA094lP5qKqwqgBM7OvpxnCl27xh5ENrJ3pWPYcI6xr5Ko67NscVdWSA79uySy+DvC0aa+YgzxmgnadoYVjKLkeG1v5Q7wShwR4jwGpCvVR4GiC0T9DxIOjRm9AadHBLyAe6V+YZk+YHMVbL4436AV3ahg30d0Yi0PArK3dAcphD35dx6EcjQZYudy79HV7CgVsGOE+JvrlkR0NfQF3bIcQpC0hSVJKVA7iCIINIPHNnVMrXh61HM3Dtq6reUScp0+8g+FUdPKmoz5ENFaNnH2nXHLO7XbByCUozD0kKEiSY866Bh2IccWufQr/wDkrFhtOyUfXrS26klK0ngoGDEcJrD22Noncsq04JUasdOi3dkXZ1Lwx9Xt4heKHIuz86rv9IJQSu3fdbc4EwQehAArQ7t6wPZbcPnlGvvNcTvaEfu24H4nJ+SRUNUFyJu0V+N2F4h8OBo5xrnZSogkb1EAaHmONdh2hv3vC0zlMakIPvlWgrT/AK2unDlbbRmOgCUlRJ6CZrpbexl4jI08J0+yyifNQ099Z5U6LZYqk1szCNkLp85rl4DzJWR0iQB5VdWex1q1qtJX1cOnuECqxOyeNPe13iQdPE6APUJNb2uyi9Xq460k8SVKVA91Op047IXLJlxksmuDCY55DXle09oj/eT+ST8hWm27HFad5dpHPI0Vaeqh8qtLXshtRGd99ZnWAhAPSIJ+NN7z2QcNlfb7VWip+tA/EFD5iuO423tk7s69fupA+ZoxtezPDkHVpSyP31qPwECrS22NsERltWpBkEpk/GoeJkNwmKp7tATPgtyQOKlwemgSY99erHGEYgFW76EoURLahJ14793Dz1pm45sRZXKcpZS2oTlW2AkjzjQieBpN4Thy7bE0sORmbWoGNx8BgjoRB9ahVZSaTYsoWCPs3zNrubZYgpKFfMH09kimLY4q8z9msgct49xpd7PoV+1rkjcEajXiER8aN6pnpJlsNY6hph22STo8jL/EnUe7ePjRHaXqHBLagodD86VFXeyli4t5LiQQlB8SuH4etQmRKCtcYtSpUpioH9utnk39m7bKjMoS2TwWPZPv08iaA9jr79oWBYeJRcMHunP323EH6t0fxBSQfNJHCm0pNJrbRQwvGmrr2be9Tld4AKSUgrPlKVeWarKcrS1Aaez98p5hC1gJcjK4kbgtOigOkgkdIqq262QTiDSEhzuHmyS28E5igGAtMSJCh13gHhW/B0928qIyu6q/6iQBPqgQfwDnWvbza9nDrZTrhHeKCgyjitQHL90SCTyPWllHK7MD58wTYXvMSfsnFqyMFedaBBIBhOhmJkaa+u+mBadlVgnel5w6zmWfjlA+VDOEbFOOTc3OJdw66St1LakSZM+JQcAB4xBAq1OyeFqgv367jKDHeXKSBPKII9/CkLIrTYImdiMOagG2bETHeEk/1HWulFth7EQm1a4ie6B8xJmhq2tdn2xoq1VH7yird5mrCx2kwds/UqYSeGVuD1ghM1A90EbGKMHwtuoO4w2cw13E5JArtoaTtzaKHhL5A5W7+nT2a9ja9s7mLj+RH91VOWT2ROZBFWKHm9qgf/TPDzLX9l+teU7Tr1//ABwIMCXuHPRsx5TTKlPoRnXUIwalUCdojmMtDJwhWvr4YqK2jVwbH8xP9hTKhN8g4kQgisUNO7SKGsNpG7Xny1NV17e3Dn/qHGxybDaefNBPHnU+7z2/sV1UGlw8G0KcVohCSpR6DfSY2Wti++7iD4grWooHKZk+QEJHkasL7ZNLurz9y7ExnczRPKRWvaG97ttNpbpl1aciUD7id0nlpz6mnhT4fxSK5zzHvYBRdN1cne64AOgSDp/UB+Wi+qvZnCjbW6GScyhJJAO8kmBz3x6Uwtndl5hb45Q2fmr9Kzbu5cnlicGz2zin4WuUt8OavLp191HbDCUJCUJAA3AaVtSIrNMipybJUqVKBSUFdrWz30zDnUgS439a3xMpBkDzTI9aNawRQAqeynaP6VZozEF23KULB10A8Cz5gR5pNce1XZ6q9uFXL1wt0kQASEhAmQlIAOg6njQPjbr2BYq+lhKShwShJBylCjKQIP3VSAenpXUO0zFXiCzbIjdo0tQJ8ydPKavjUhb4kRqd6+zdpvVVutUccylT5gGvDezlqP8AYR6iT864v2/j7o0+r135W0kdNZPwrW9YYy+ZeuwJA+8P/amm4tP+JOWRfNYe0PZaRPRCf0rdokcEgeQAFCv+hrlYh2+VHL6xcH1UK3NdnDA9t51R6BKfnmqPeUtkTwpF47iTKRq82Pzp/sa5ntorVMy+jTeAZ91YZ2Fsgfs1K3b1q/WrBnZ20SZFu2D+H9aPen0GVFlK7thZj/cJ5wlX6VhvalC/smLh3fBQ1ofLWaKmbdCPYQhPHwpSPkK2lXM0jxMyeCuYLoxS5VBRYuEEffcQiPSCflW2L5Y8LLLZI0KnCqN28BIojqUrr1HzG4MQDv8AYe4e8b12lS+AyqygcgZ091aLXYu9SMouu7TwCVufIUw6lV5mTw0A6Oz7N9tduL4kBO/1Kj8qJdmtmG7fwMJUpa95MFRHLQCBV7hmHLfXkbE8zwTv1NMHBsGbt0wnVR9pR3noOQo1ZDyx2OPZ/ZxLMLchTnwT0HM9aIAKkVmpKm7kqVKlBBKlSpQBKlSpQBxX+GNPCHEAngeI8jvqoOxzJ3qc/mH6VipQSm1se29j2BvK1fmj5Ctn+krb91X86qlSgMz6m3/TFr/x/wBSv1r0jZu2H+0D5kn+9ZqVFguz1+wLb/hT8a2jB2P+Fv8AlT+lZqVIXZ6RhjI3NIH5U/pXo2Lf/Gj+VP6VKlBFzju9nrdze2AeadP/ABVFe7FkatOT0WP7j9KxUqLDKTRTu7O3KTHdE9RBFddjsm+pQzgNp4mQT6AcalSiw3EYb4fYoZQENiB8SeZ611VKlSVkqVKlAEqVKlAH/9k="/>
          <p:cNvSpPr>
            <a:spLocks noChangeAspect="1" noChangeArrowheads="1"/>
          </p:cNvSpPr>
          <p:nvPr/>
        </p:nvSpPr>
        <p:spPr bwMode="auto">
          <a:xfrm>
            <a:off x="152400" y="152400"/>
            <a:ext cx="2286000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29400" y="3334513"/>
            <a:ext cx="1868488" cy="116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4980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_0WjiSZEuGuVZDygGZ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DJ7dP5A0ObmoTRKIvghA"/>
</p:tagLst>
</file>

<file path=ppt/theme/theme1.xml><?xml version="1.0" encoding="utf-8"?>
<a:theme xmlns:a="http://schemas.openxmlformats.org/drawingml/2006/main" name="Acumatica PPT Template">
  <a:themeElements>
    <a:clrScheme name="Apica">
      <a:dk1>
        <a:srgbClr val="636363"/>
      </a:dk1>
      <a:lt1>
        <a:srgbClr val="FFFFFF"/>
      </a:lt1>
      <a:dk2>
        <a:srgbClr val="F3703A"/>
      </a:dk2>
      <a:lt2>
        <a:srgbClr val="737373"/>
      </a:lt2>
      <a:accent1>
        <a:srgbClr val="39B54A"/>
      </a:accent1>
      <a:accent2>
        <a:srgbClr val="D7DF23"/>
      </a:accent2>
      <a:accent3>
        <a:srgbClr val="FBB040"/>
      </a:accent3>
      <a:accent4>
        <a:srgbClr val="C6443F"/>
      </a:accent4>
      <a:accent5>
        <a:srgbClr val="5A8243"/>
      </a:accent5>
      <a:accent6>
        <a:srgbClr val="ACC237"/>
      </a:accent6>
      <a:hlink>
        <a:srgbClr val="3445A1"/>
      </a:hlink>
      <a:folHlink>
        <a:srgbClr val="3FA7D7"/>
      </a:folHlink>
    </a:clrScheme>
    <a:fontScheme name="Apica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901</TotalTime>
  <Words>1879</Words>
  <Application>Microsoft Macintosh PowerPoint</Application>
  <PresentationFormat>On-screen Show (16:9)</PresentationFormat>
  <Paragraphs>438</Paragraphs>
  <Slides>29</Slides>
  <Notes>21</Notes>
  <HiddenSlides>7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2" baseType="lpstr">
      <vt:lpstr>75 Helvetica Bold</vt:lpstr>
      <vt:lpstr>Calibri</vt:lpstr>
      <vt:lpstr>Franklin Gothic Book</vt:lpstr>
      <vt:lpstr>Gill Sans</vt:lpstr>
      <vt:lpstr>Lato Semibold</vt:lpstr>
      <vt:lpstr>Open Sans</vt:lpstr>
      <vt:lpstr>Open Sans Light</vt:lpstr>
      <vt:lpstr>Proxima Nova</vt:lpstr>
      <vt:lpstr>Sanchez</vt:lpstr>
      <vt:lpstr>ヒラギノ角ゴ ProN W3</vt:lpstr>
      <vt:lpstr>Arial</vt:lpstr>
      <vt:lpstr>Acumatica PPT Template</vt:lpstr>
      <vt:lpstr>think-cell Slide</vt:lpstr>
      <vt:lpstr>  Apica </vt:lpstr>
      <vt:lpstr>Agenda</vt:lpstr>
      <vt:lpstr>Who am I?</vt:lpstr>
      <vt:lpstr>PS – Organisation (SE)</vt:lpstr>
      <vt:lpstr>PS – Organisation (US)</vt:lpstr>
      <vt:lpstr>PS - Roles &amp; levels</vt:lpstr>
      <vt:lpstr>PowerPoint Presentation</vt:lpstr>
      <vt:lpstr>PS - Basic tasks</vt:lpstr>
      <vt:lpstr>PS - Strategy &amp; purpose</vt:lpstr>
      <vt:lpstr>PS - Going global…</vt:lpstr>
      <vt:lpstr>Apica - Service catalogue</vt:lpstr>
      <vt:lpstr>PS - Competence matrix</vt:lpstr>
      <vt:lpstr>Competence areas</vt:lpstr>
      <vt:lpstr>PS - Best practises</vt:lpstr>
      <vt:lpstr>PS - Best practises – Post mortem…</vt:lpstr>
      <vt:lpstr>PS – Support tools - Activity board</vt:lpstr>
      <vt:lpstr>PS – Support tools - Calendar overview</vt:lpstr>
      <vt:lpstr>PS – Support tools - Project overview</vt:lpstr>
      <vt:lpstr>PS – Support tools - Time management</vt:lpstr>
      <vt:lpstr>PS – Partners (DevOps &amp; QA partners)</vt:lpstr>
      <vt:lpstr>PS - Focus areas in 2017</vt:lpstr>
      <vt:lpstr>PS - Our offerings – How we work </vt:lpstr>
      <vt:lpstr>PS - Service offerings - Performance Excellence </vt:lpstr>
      <vt:lpstr>PS – Load testing in Continuous Integration </vt:lpstr>
      <vt:lpstr>PS – Environment management in SDLC  </vt:lpstr>
      <vt:lpstr>PS – APM Managed Services   </vt:lpstr>
      <vt:lpstr>PowerPoint Presentation</vt:lpstr>
      <vt:lpstr>PowerPoint Presentation</vt:lpstr>
      <vt:lpstr>  Apica </vt:lpstr>
    </vt:vector>
  </TitlesOfParts>
  <LinksUpToDate>false</LinksUpToDate>
  <SharedDoc>false</SharedDoc>
  <HyperlinkBase/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ica PowerPoint Presentation</dc:title>
  <dc:creator>Patrick Kerans</dc:creator>
  <cp:lastModifiedBy>patrick.moser@apicasystem.com</cp:lastModifiedBy>
  <cp:revision>1122</cp:revision>
  <cp:lastPrinted>2016-02-15T05:43:45Z</cp:lastPrinted>
  <dcterms:created xsi:type="dcterms:W3CDTF">2016-02-15T14:42:49Z</dcterms:created>
  <dcterms:modified xsi:type="dcterms:W3CDTF">2017-02-21T10:01:06Z</dcterms:modified>
</cp:coreProperties>
</file>